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0" r:id="rId2"/>
  </p:sldMasterIdLst>
  <p:notesMasterIdLst>
    <p:notesMasterId r:id="rId7"/>
  </p:notesMasterIdLst>
  <p:sldIdLst>
    <p:sldId id="2051" r:id="rId3"/>
    <p:sldId id="2182" r:id="rId4"/>
    <p:sldId id="2193" r:id="rId5"/>
    <p:sldId id="2109" r:id="rId6"/>
  </p:sldIdLst>
  <p:sldSz cx="9144000" cy="6858000" type="screen4x3"/>
  <p:notesSz cx="6858000" cy="9144000"/>
  <p:custDataLst>
    <p:tags r:id="rId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57"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EF6E8"/>
    <a:srgbClr val="D9F4FF"/>
    <a:srgbClr val="EBFBDD"/>
    <a:srgbClr val="DEE6EE"/>
    <a:srgbClr val="A2D8DE"/>
    <a:srgbClr val="EDC5BD"/>
    <a:srgbClr val="D8F6BC"/>
    <a:srgbClr val="3399FF"/>
    <a:srgbClr val="E3F0FD"/>
    <a:srgbClr val="EECE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505E3EF-67EA-436B-97B2-0124C06EBD24}" styleName="中度样式 4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5" autoAdjust="0"/>
    <p:restoredTop sz="83157" autoAdjust="0"/>
  </p:normalViewPr>
  <p:slideViewPr>
    <p:cSldViewPr snapToGrid="0">
      <p:cViewPr varScale="1">
        <p:scale>
          <a:sx n="105" d="100"/>
          <a:sy n="105" d="100"/>
        </p:scale>
        <p:origin x="60" y="1352"/>
      </p:cViewPr>
      <p:guideLst>
        <p:guide orient="horz" pos="1457"/>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25" d="100"/>
        <a:sy n="125" d="100"/>
      </p:scale>
      <p:origin x="0" y="0"/>
    </p:cViewPr>
  </p:sorterViewPr>
  <p:notesViewPr>
    <p:cSldViewPr snapToGrid="0" showGuides="1">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32AD00-B718-40DD-8CC7-C8529EA1289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CN" altLang="en-US"/>
        </a:p>
      </dgm:t>
    </dgm:pt>
    <dgm:pt modelId="{B16E8A84-984D-4BCB-AB22-26713767352D}">
      <dgm:prSet phldrT="[文本]" custT="1"/>
      <dgm:spPr/>
      <dgm:t>
        <a:bodyPr/>
        <a:lstStyle/>
        <a:p>
          <a:r>
            <a:rPr lang="zh-CN" altLang="en-US" sz="2400" b="1" baseline="0" dirty="0">
              <a:latin typeface="+mj-lt"/>
              <a:ea typeface="+mj-ea"/>
            </a:rPr>
            <a:t>一、总体目标</a:t>
          </a:r>
        </a:p>
      </dgm:t>
    </dgm:pt>
    <dgm:pt modelId="{65178C78-D7BA-4843-882E-EC40E0868149}" type="parTrans" cxnId="{5E1FBD26-C6B9-4B3E-AAFC-077F54A002B6}">
      <dgm:prSet/>
      <dgm:spPr/>
      <dgm:t>
        <a:bodyPr/>
        <a:lstStyle/>
        <a:p>
          <a:endParaRPr lang="zh-CN" altLang="en-US" b="1" baseline="0">
            <a:latin typeface="+mj-lt"/>
            <a:ea typeface="+mj-ea"/>
          </a:endParaRPr>
        </a:p>
      </dgm:t>
    </dgm:pt>
    <dgm:pt modelId="{7A7678C5-7BA6-4E5E-B9D8-24B8D29B3C63}" type="sibTrans" cxnId="{5E1FBD26-C6B9-4B3E-AAFC-077F54A002B6}">
      <dgm:prSet/>
      <dgm:spPr/>
      <dgm:t>
        <a:bodyPr/>
        <a:lstStyle/>
        <a:p>
          <a:endParaRPr lang="zh-CN" altLang="en-US" b="1" baseline="0">
            <a:latin typeface="+mj-lt"/>
            <a:ea typeface="+mj-ea"/>
          </a:endParaRPr>
        </a:p>
      </dgm:t>
    </dgm:pt>
    <dgm:pt modelId="{1C2BA867-0415-4374-8049-71D6D9754068}">
      <dgm:prSet phldrT="[文本]" custT="1"/>
      <dgm:spPr/>
      <dgm:t>
        <a:bodyPr/>
        <a:lstStyle/>
        <a:p>
          <a:r>
            <a:rPr lang="zh-CN" altLang="en-US" sz="2400" b="1" baseline="0" dirty="0">
              <a:latin typeface="+mj-lt"/>
              <a:ea typeface="+mj-ea"/>
            </a:rPr>
            <a:t>二、研究进展</a:t>
          </a:r>
        </a:p>
      </dgm:t>
    </dgm:pt>
    <dgm:pt modelId="{79950879-47C6-4FB0-A264-4BAE4AA41D3C}" type="parTrans" cxnId="{7A364EEF-10E9-4217-9458-85D2D8F5757B}">
      <dgm:prSet/>
      <dgm:spPr/>
      <dgm:t>
        <a:bodyPr/>
        <a:lstStyle/>
        <a:p>
          <a:endParaRPr lang="zh-CN" altLang="en-US" b="1" baseline="0">
            <a:latin typeface="+mj-lt"/>
            <a:ea typeface="+mj-ea"/>
          </a:endParaRPr>
        </a:p>
      </dgm:t>
    </dgm:pt>
    <dgm:pt modelId="{EF757BCE-BDB0-421E-8A8B-4F16C4C8B1A5}" type="sibTrans" cxnId="{7A364EEF-10E9-4217-9458-85D2D8F5757B}">
      <dgm:prSet/>
      <dgm:spPr/>
      <dgm:t>
        <a:bodyPr/>
        <a:lstStyle/>
        <a:p>
          <a:endParaRPr lang="zh-CN" altLang="en-US" b="1" baseline="0">
            <a:latin typeface="+mj-lt"/>
            <a:ea typeface="+mj-ea"/>
          </a:endParaRPr>
        </a:p>
      </dgm:t>
    </dgm:pt>
    <dgm:pt modelId="{56DCA919-A76D-4556-905E-3980D2319160}">
      <dgm:prSet phldrT="[文本]" custT="1"/>
      <dgm:spPr/>
      <dgm:t>
        <a:bodyPr/>
        <a:lstStyle/>
        <a:p>
          <a:r>
            <a:rPr lang="zh-CN" altLang="en-US" sz="2400" b="1" baseline="0" dirty="0">
              <a:latin typeface="+mj-lt"/>
              <a:ea typeface="+mj-ea"/>
            </a:rPr>
            <a:t>四、核心问题</a:t>
          </a:r>
        </a:p>
      </dgm:t>
    </dgm:pt>
    <dgm:pt modelId="{22AE2F0F-D3C0-47E1-BBF2-57444397788B}" type="parTrans" cxnId="{0BD38653-503D-4A2A-9A4B-7994138AA980}">
      <dgm:prSet/>
      <dgm:spPr/>
      <dgm:t>
        <a:bodyPr/>
        <a:lstStyle/>
        <a:p>
          <a:endParaRPr lang="zh-CN" altLang="en-US" b="1" baseline="0">
            <a:latin typeface="+mj-lt"/>
            <a:ea typeface="+mj-ea"/>
          </a:endParaRPr>
        </a:p>
      </dgm:t>
    </dgm:pt>
    <dgm:pt modelId="{11AC6F58-C257-4BC5-BC4E-87FD3375086A}" type="sibTrans" cxnId="{0BD38653-503D-4A2A-9A4B-7994138AA980}">
      <dgm:prSet/>
      <dgm:spPr/>
      <dgm:t>
        <a:bodyPr/>
        <a:lstStyle/>
        <a:p>
          <a:endParaRPr lang="zh-CN" altLang="en-US" b="1" baseline="0">
            <a:latin typeface="+mj-lt"/>
            <a:ea typeface="+mj-ea"/>
          </a:endParaRPr>
        </a:p>
      </dgm:t>
    </dgm:pt>
    <dgm:pt modelId="{87525CB7-485E-49C4-ACDD-CD84F6FC342B}">
      <dgm:prSet custT="1"/>
      <dgm:spPr/>
      <dgm:t>
        <a:bodyPr/>
        <a:lstStyle/>
        <a:p>
          <a:r>
            <a:rPr lang="zh-CN" altLang="en-US" sz="2400" b="1" baseline="0" dirty="0">
              <a:latin typeface="+mj-lt"/>
              <a:ea typeface="+mj-ea"/>
            </a:rPr>
            <a:t>三、研究难点</a:t>
          </a:r>
        </a:p>
      </dgm:t>
    </dgm:pt>
    <dgm:pt modelId="{C3596A84-0D01-4336-B005-CCCDE05155BA}" type="parTrans" cxnId="{D30C605E-702F-4110-BB16-CBA74E5E82C7}">
      <dgm:prSet/>
      <dgm:spPr/>
      <dgm:t>
        <a:bodyPr/>
        <a:lstStyle/>
        <a:p>
          <a:endParaRPr lang="zh-CN" altLang="en-US" b="1" baseline="0">
            <a:latin typeface="+mj-lt"/>
            <a:ea typeface="+mj-ea"/>
          </a:endParaRPr>
        </a:p>
      </dgm:t>
    </dgm:pt>
    <dgm:pt modelId="{4D3FA473-DE47-4098-B68B-8B05300EE69F}" type="sibTrans" cxnId="{D30C605E-702F-4110-BB16-CBA74E5E82C7}">
      <dgm:prSet/>
      <dgm:spPr/>
      <dgm:t>
        <a:bodyPr/>
        <a:lstStyle/>
        <a:p>
          <a:endParaRPr lang="zh-CN" altLang="en-US" b="1" baseline="0">
            <a:latin typeface="+mj-lt"/>
            <a:ea typeface="+mj-ea"/>
          </a:endParaRPr>
        </a:p>
      </dgm:t>
    </dgm:pt>
    <dgm:pt modelId="{6B825217-2E82-4E43-A8A5-C42747EF872F}" type="pres">
      <dgm:prSet presAssocID="{EA32AD00-B718-40DD-8CC7-C8529EA12899}" presName="Name0" presStyleCnt="0">
        <dgm:presLayoutVars>
          <dgm:chMax val="7"/>
          <dgm:chPref val="7"/>
          <dgm:dir/>
        </dgm:presLayoutVars>
      </dgm:prSet>
      <dgm:spPr/>
    </dgm:pt>
    <dgm:pt modelId="{BD31C331-041D-4112-AECC-3B24E272516C}" type="pres">
      <dgm:prSet presAssocID="{EA32AD00-B718-40DD-8CC7-C8529EA12899}" presName="Name1" presStyleCnt="0"/>
      <dgm:spPr/>
    </dgm:pt>
    <dgm:pt modelId="{120E8A16-46E1-445A-82D0-01E718F02579}" type="pres">
      <dgm:prSet presAssocID="{EA32AD00-B718-40DD-8CC7-C8529EA12899}" presName="cycle" presStyleCnt="0"/>
      <dgm:spPr/>
    </dgm:pt>
    <dgm:pt modelId="{64477026-7F7B-4CAD-8F3F-C9A30866239E}" type="pres">
      <dgm:prSet presAssocID="{EA32AD00-B718-40DD-8CC7-C8529EA12899}" presName="srcNode" presStyleLbl="node1" presStyleIdx="0" presStyleCnt="4"/>
      <dgm:spPr/>
    </dgm:pt>
    <dgm:pt modelId="{D9836740-8F32-4A6E-B9DA-20521CCB6C3B}" type="pres">
      <dgm:prSet presAssocID="{EA32AD00-B718-40DD-8CC7-C8529EA12899}" presName="conn" presStyleLbl="parChTrans1D2" presStyleIdx="0" presStyleCnt="1"/>
      <dgm:spPr/>
    </dgm:pt>
    <dgm:pt modelId="{DFC24F6A-4920-4F1D-8C2E-039AA4DE5FBD}" type="pres">
      <dgm:prSet presAssocID="{EA32AD00-B718-40DD-8CC7-C8529EA12899}" presName="extraNode" presStyleLbl="node1" presStyleIdx="0" presStyleCnt="4"/>
      <dgm:spPr/>
    </dgm:pt>
    <dgm:pt modelId="{214FFE55-8C51-4958-B94C-B032D07973F2}" type="pres">
      <dgm:prSet presAssocID="{EA32AD00-B718-40DD-8CC7-C8529EA12899}" presName="dstNode" presStyleLbl="node1" presStyleIdx="0" presStyleCnt="4"/>
      <dgm:spPr/>
    </dgm:pt>
    <dgm:pt modelId="{F53966F7-68B4-4A42-84BD-08075DCE058D}" type="pres">
      <dgm:prSet presAssocID="{B16E8A84-984D-4BCB-AB22-26713767352D}" presName="text_1" presStyleLbl="node1" presStyleIdx="0" presStyleCnt="4">
        <dgm:presLayoutVars>
          <dgm:bulletEnabled val="1"/>
        </dgm:presLayoutVars>
      </dgm:prSet>
      <dgm:spPr/>
    </dgm:pt>
    <dgm:pt modelId="{FBBD8B03-9D4F-400D-8ED6-6D0AC4983602}" type="pres">
      <dgm:prSet presAssocID="{B16E8A84-984D-4BCB-AB22-26713767352D}" presName="accent_1" presStyleCnt="0"/>
      <dgm:spPr/>
    </dgm:pt>
    <dgm:pt modelId="{CADAC400-3ED5-4051-94A5-A917C1F29AC4}" type="pres">
      <dgm:prSet presAssocID="{B16E8A84-984D-4BCB-AB22-26713767352D}" presName="accentRepeatNode" presStyleLbl="solidFgAcc1" presStyleIdx="0" presStyleCnt="4"/>
      <dgm:spPr/>
    </dgm:pt>
    <dgm:pt modelId="{DA039C72-1F37-4EC5-B607-EE0E01615A24}" type="pres">
      <dgm:prSet presAssocID="{1C2BA867-0415-4374-8049-71D6D9754068}" presName="text_2" presStyleLbl="node1" presStyleIdx="1" presStyleCnt="4">
        <dgm:presLayoutVars>
          <dgm:bulletEnabled val="1"/>
        </dgm:presLayoutVars>
      </dgm:prSet>
      <dgm:spPr/>
    </dgm:pt>
    <dgm:pt modelId="{F69A4868-0606-43BD-99AE-675591CD1D65}" type="pres">
      <dgm:prSet presAssocID="{1C2BA867-0415-4374-8049-71D6D9754068}" presName="accent_2" presStyleCnt="0"/>
      <dgm:spPr/>
    </dgm:pt>
    <dgm:pt modelId="{86F70CEE-893E-4578-8E74-FFC214FC1E3F}" type="pres">
      <dgm:prSet presAssocID="{1C2BA867-0415-4374-8049-71D6D9754068}" presName="accentRepeatNode" presStyleLbl="solidFgAcc1" presStyleIdx="1" presStyleCnt="4"/>
      <dgm:spPr/>
    </dgm:pt>
    <dgm:pt modelId="{7159B85A-7720-4CDA-A97F-ADB6826898FA}" type="pres">
      <dgm:prSet presAssocID="{87525CB7-485E-49C4-ACDD-CD84F6FC342B}" presName="text_3" presStyleLbl="node1" presStyleIdx="2" presStyleCnt="4">
        <dgm:presLayoutVars>
          <dgm:bulletEnabled val="1"/>
        </dgm:presLayoutVars>
      </dgm:prSet>
      <dgm:spPr/>
    </dgm:pt>
    <dgm:pt modelId="{C9E3AE00-F63D-4BE9-A21A-4D4BF5154848}" type="pres">
      <dgm:prSet presAssocID="{87525CB7-485E-49C4-ACDD-CD84F6FC342B}" presName="accent_3" presStyleCnt="0"/>
      <dgm:spPr/>
    </dgm:pt>
    <dgm:pt modelId="{77EF768E-54AE-4211-A9D2-B8093C3E2B28}" type="pres">
      <dgm:prSet presAssocID="{87525CB7-485E-49C4-ACDD-CD84F6FC342B}" presName="accentRepeatNode" presStyleLbl="solidFgAcc1" presStyleIdx="2" presStyleCnt="4"/>
      <dgm:spPr/>
    </dgm:pt>
    <dgm:pt modelId="{3132BE58-A131-4104-9340-E7FB067B23A4}" type="pres">
      <dgm:prSet presAssocID="{56DCA919-A76D-4556-905E-3980D2319160}" presName="text_4" presStyleLbl="node1" presStyleIdx="3" presStyleCnt="4">
        <dgm:presLayoutVars>
          <dgm:bulletEnabled val="1"/>
        </dgm:presLayoutVars>
      </dgm:prSet>
      <dgm:spPr/>
    </dgm:pt>
    <dgm:pt modelId="{3D2ED39F-794F-48F5-9C06-82F1C8148EEF}" type="pres">
      <dgm:prSet presAssocID="{56DCA919-A76D-4556-905E-3980D2319160}" presName="accent_4" presStyleCnt="0"/>
      <dgm:spPr/>
    </dgm:pt>
    <dgm:pt modelId="{6ACC40D6-AE3B-42F4-8B2B-7F14415D0320}" type="pres">
      <dgm:prSet presAssocID="{56DCA919-A76D-4556-905E-3980D2319160}" presName="accentRepeatNode" presStyleLbl="solidFgAcc1" presStyleIdx="3" presStyleCnt="4"/>
      <dgm:spPr/>
    </dgm:pt>
  </dgm:ptLst>
  <dgm:cxnLst>
    <dgm:cxn modelId="{68A5430F-0352-47D6-9B4D-6F73DEDB9C21}" type="presOf" srcId="{B16E8A84-984D-4BCB-AB22-26713767352D}" destId="{F53966F7-68B4-4A42-84BD-08075DCE058D}" srcOrd="0" destOrd="0" presId="urn:microsoft.com/office/officeart/2008/layout/VerticalCurvedList"/>
    <dgm:cxn modelId="{5E1FBD26-C6B9-4B3E-AAFC-077F54A002B6}" srcId="{EA32AD00-B718-40DD-8CC7-C8529EA12899}" destId="{B16E8A84-984D-4BCB-AB22-26713767352D}" srcOrd="0" destOrd="0" parTransId="{65178C78-D7BA-4843-882E-EC40E0868149}" sibTransId="{7A7678C5-7BA6-4E5E-B9D8-24B8D29B3C63}"/>
    <dgm:cxn modelId="{D30C605E-702F-4110-BB16-CBA74E5E82C7}" srcId="{EA32AD00-B718-40DD-8CC7-C8529EA12899}" destId="{87525CB7-485E-49C4-ACDD-CD84F6FC342B}" srcOrd="2" destOrd="0" parTransId="{C3596A84-0D01-4336-B005-CCCDE05155BA}" sibTransId="{4D3FA473-DE47-4098-B68B-8B05300EE69F}"/>
    <dgm:cxn modelId="{6065BD51-F0B7-4DB0-B39E-411930A13870}" type="presOf" srcId="{1C2BA867-0415-4374-8049-71D6D9754068}" destId="{DA039C72-1F37-4EC5-B607-EE0E01615A24}" srcOrd="0" destOrd="0" presId="urn:microsoft.com/office/officeart/2008/layout/VerticalCurvedList"/>
    <dgm:cxn modelId="{0BD38653-503D-4A2A-9A4B-7994138AA980}" srcId="{EA32AD00-B718-40DD-8CC7-C8529EA12899}" destId="{56DCA919-A76D-4556-905E-3980D2319160}" srcOrd="3" destOrd="0" parTransId="{22AE2F0F-D3C0-47E1-BBF2-57444397788B}" sibTransId="{11AC6F58-C257-4BC5-BC4E-87FD3375086A}"/>
    <dgm:cxn modelId="{CCE57580-D1F8-4D9D-9440-EDF0BE8F5E6A}" type="presOf" srcId="{7A7678C5-7BA6-4E5E-B9D8-24B8D29B3C63}" destId="{D9836740-8F32-4A6E-B9DA-20521CCB6C3B}" srcOrd="0" destOrd="0" presId="urn:microsoft.com/office/officeart/2008/layout/VerticalCurvedList"/>
    <dgm:cxn modelId="{5373B18A-D44E-4CD6-B0B8-69294F40B93E}" type="presOf" srcId="{56DCA919-A76D-4556-905E-3980D2319160}" destId="{3132BE58-A131-4104-9340-E7FB067B23A4}" srcOrd="0" destOrd="0" presId="urn:microsoft.com/office/officeart/2008/layout/VerticalCurvedList"/>
    <dgm:cxn modelId="{F36C35C4-855F-4D2B-A8EB-E36E70B63ED8}" type="presOf" srcId="{EA32AD00-B718-40DD-8CC7-C8529EA12899}" destId="{6B825217-2E82-4E43-A8A5-C42747EF872F}" srcOrd="0" destOrd="0" presId="urn:microsoft.com/office/officeart/2008/layout/VerticalCurvedList"/>
    <dgm:cxn modelId="{71D3A7CE-A0AB-4881-8E02-633A2D0CEF5C}" type="presOf" srcId="{87525CB7-485E-49C4-ACDD-CD84F6FC342B}" destId="{7159B85A-7720-4CDA-A97F-ADB6826898FA}" srcOrd="0" destOrd="0" presId="urn:microsoft.com/office/officeart/2008/layout/VerticalCurvedList"/>
    <dgm:cxn modelId="{7A364EEF-10E9-4217-9458-85D2D8F5757B}" srcId="{EA32AD00-B718-40DD-8CC7-C8529EA12899}" destId="{1C2BA867-0415-4374-8049-71D6D9754068}" srcOrd="1" destOrd="0" parTransId="{79950879-47C6-4FB0-A264-4BAE4AA41D3C}" sibTransId="{EF757BCE-BDB0-421E-8A8B-4F16C4C8B1A5}"/>
    <dgm:cxn modelId="{767FF2E3-E989-4D22-A91F-9158A6160D1B}" type="presParOf" srcId="{6B825217-2E82-4E43-A8A5-C42747EF872F}" destId="{BD31C331-041D-4112-AECC-3B24E272516C}" srcOrd="0" destOrd="0" presId="urn:microsoft.com/office/officeart/2008/layout/VerticalCurvedList"/>
    <dgm:cxn modelId="{BC932F29-BDA2-4B46-A3C5-EEF0DF6FE045}" type="presParOf" srcId="{BD31C331-041D-4112-AECC-3B24E272516C}" destId="{120E8A16-46E1-445A-82D0-01E718F02579}" srcOrd="0" destOrd="0" presId="urn:microsoft.com/office/officeart/2008/layout/VerticalCurvedList"/>
    <dgm:cxn modelId="{A96DE015-0B1B-44C8-BA6B-18D4C7E79D32}" type="presParOf" srcId="{120E8A16-46E1-445A-82D0-01E718F02579}" destId="{64477026-7F7B-4CAD-8F3F-C9A30866239E}" srcOrd="0" destOrd="0" presId="urn:microsoft.com/office/officeart/2008/layout/VerticalCurvedList"/>
    <dgm:cxn modelId="{A0187955-1A5C-4FA7-AA2B-B5F1D0470BA8}" type="presParOf" srcId="{120E8A16-46E1-445A-82D0-01E718F02579}" destId="{D9836740-8F32-4A6E-B9DA-20521CCB6C3B}" srcOrd="1" destOrd="0" presId="urn:microsoft.com/office/officeart/2008/layout/VerticalCurvedList"/>
    <dgm:cxn modelId="{58AD278B-143F-48FB-BEF3-53554D66EF97}" type="presParOf" srcId="{120E8A16-46E1-445A-82D0-01E718F02579}" destId="{DFC24F6A-4920-4F1D-8C2E-039AA4DE5FBD}" srcOrd="2" destOrd="0" presId="urn:microsoft.com/office/officeart/2008/layout/VerticalCurvedList"/>
    <dgm:cxn modelId="{A31B8203-31E3-4D25-AA5C-0321E88C544E}" type="presParOf" srcId="{120E8A16-46E1-445A-82D0-01E718F02579}" destId="{214FFE55-8C51-4958-B94C-B032D07973F2}" srcOrd="3" destOrd="0" presId="urn:microsoft.com/office/officeart/2008/layout/VerticalCurvedList"/>
    <dgm:cxn modelId="{A479D52F-2678-40A5-976D-9B99935C226E}" type="presParOf" srcId="{BD31C331-041D-4112-AECC-3B24E272516C}" destId="{F53966F7-68B4-4A42-84BD-08075DCE058D}" srcOrd="1" destOrd="0" presId="urn:microsoft.com/office/officeart/2008/layout/VerticalCurvedList"/>
    <dgm:cxn modelId="{AD2913EC-5C22-468D-9D14-EE72B404E5F8}" type="presParOf" srcId="{BD31C331-041D-4112-AECC-3B24E272516C}" destId="{FBBD8B03-9D4F-400D-8ED6-6D0AC4983602}" srcOrd="2" destOrd="0" presId="urn:microsoft.com/office/officeart/2008/layout/VerticalCurvedList"/>
    <dgm:cxn modelId="{DCCC2C22-8CBE-4E45-87A0-D85C373DC409}" type="presParOf" srcId="{FBBD8B03-9D4F-400D-8ED6-6D0AC4983602}" destId="{CADAC400-3ED5-4051-94A5-A917C1F29AC4}" srcOrd="0" destOrd="0" presId="urn:microsoft.com/office/officeart/2008/layout/VerticalCurvedList"/>
    <dgm:cxn modelId="{7B525807-DFC3-4F3E-B246-4DAD665E0BC9}" type="presParOf" srcId="{BD31C331-041D-4112-AECC-3B24E272516C}" destId="{DA039C72-1F37-4EC5-B607-EE0E01615A24}" srcOrd="3" destOrd="0" presId="urn:microsoft.com/office/officeart/2008/layout/VerticalCurvedList"/>
    <dgm:cxn modelId="{A350776F-5BF5-4262-A11A-B645C2471CBC}" type="presParOf" srcId="{BD31C331-041D-4112-AECC-3B24E272516C}" destId="{F69A4868-0606-43BD-99AE-675591CD1D65}" srcOrd="4" destOrd="0" presId="urn:microsoft.com/office/officeart/2008/layout/VerticalCurvedList"/>
    <dgm:cxn modelId="{7712A78B-77CB-4CE5-B8FB-F738CC5474EE}" type="presParOf" srcId="{F69A4868-0606-43BD-99AE-675591CD1D65}" destId="{86F70CEE-893E-4578-8E74-FFC214FC1E3F}" srcOrd="0" destOrd="0" presId="urn:microsoft.com/office/officeart/2008/layout/VerticalCurvedList"/>
    <dgm:cxn modelId="{CC4E69C5-DD87-4BDB-86AA-CDC975DAC92A}" type="presParOf" srcId="{BD31C331-041D-4112-AECC-3B24E272516C}" destId="{7159B85A-7720-4CDA-A97F-ADB6826898FA}" srcOrd="5" destOrd="0" presId="urn:microsoft.com/office/officeart/2008/layout/VerticalCurvedList"/>
    <dgm:cxn modelId="{12A648A1-975E-448E-B206-8CB0A69C0567}" type="presParOf" srcId="{BD31C331-041D-4112-AECC-3B24E272516C}" destId="{C9E3AE00-F63D-4BE9-A21A-4D4BF5154848}" srcOrd="6" destOrd="0" presId="urn:microsoft.com/office/officeart/2008/layout/VerticalCurvedList"/>
    <dgm:cxn modelId="{7A535361-8449-4181-9B99-235CF3534403}" type="presParOf" srcId="{C9E3AE00-F63D-4BE9-A21A-4D4BF5154848}" destId="{77EF768E-54AE-4211-A9D2-B8093C3E2B28}" srcOrd="0" destOrd="0" presId="urn:microsoft.com/office/officeart/2008/layout/VerticalCurvedList"/>
    <dgm:cxn modelId="{64E779A3-78C3-4893-AE53-BD93B44F2E4E}" type="presParOf" srcId="{BD31C331-041D-4112-AECC-3B24E272516C}" destId="{3132BE58-A131-4104-9340-E7FB067B23A4}" srcOrd="7" destOrd="0" presId="urn:microsoft.com/office/officeart/2008/layout/VerticalCurvedList"/>
    <dgm:cxn modelId="{2FA4583A-94BE-449B-90E5-2B0646F6ECD3}" type="presParOf" srcId="{BD31C331-041D-4112-AECC-3B24E272516C}" destId="{3D2ED39F-794F-48F5-9C06-82F1C8148EEF}" srcOrd="8" destOrd="0" presId="urn:microsoft.com/office/officeart/2008/layout/VerticalCurvedList"/>
    <dgm:cxn modelId="{02AA5AFC-5DA9-4CF2-918F-49E1DABCA97A}" type="presParOf" srcId="{3D2ED39F-794F-48F5-9C06-82F1C8148EEF}" destId="{6ACC40D6-AE3B-42F4-8B2B-7F14415D032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2AD00-B718-40DD-8CC7-C8529EA1289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CN" altLang="en-US"/>
        </a:p>
      </dgm:t>
    </dgm:pt>
    <dgm:pt modelId="{B16E8A84-984D-4BCB-AB22-26713767352D}">
      <dgm:prSet phldrT="[文本]" custT="1"/>
      <dgm:spPr/>
      <dgm:t>
        <a:bodyPr/>
        <a:lstStyle/>
        <a:p>
          <a:r>
            <a:rPr lang="zh-CN" altLang="en-US" sz="2400" b="1" baseline="0" dirty="0">
              <a:latin typeface="+mj-lt"/>
              <a:ea typeface="+mj-ea"/>
            </a:rPr>
            <a:t>一、总体目标</a:t>
          </a:r>
        </a:p>
      </dgm:t>
    </dgm:pt>
    <dgm:pt modelId="{65178C78-D7BA-4843-882E-EC40E0868149}" type="parTrans" cxnId="{5E1FBD26-C6B9-4B3E-AAFC-077F54A002B6}">
      <dgm:prSet/>
      <dgm:spPr/>
      <dgm:t>
        <a:bodyPr/>
        <a:lstStyle/>
        <a:p>
          <a:endParaRPr lang="zh-CN" altLang="en-US" b="1" baseline="0">
            <a:latin typeface="+mj-lt"/>
            <a:ea typeface="+mj-ea"/>
          </a:endParaRPr>
        </a:p>
      </dgm:t>
    </dgm:pt>
    <dgm:pt modelId="{7A7678C5-7BA6-4E5E-B9D8-24B8D29B3C63}" type="sibTrans" cxnId="{5E1FBD26-C6B9-4B3E-AAFC-077F54A002B6}">
      <dgm:prSet/>
      <dgm:spPr/>
      <dgm:t>
        <a:bodyPr/>
        <a:lstStyle/>
        <a:p>
          <a:endParaRPr lang="zh-CN" altLang="en-US" b="1" baseline="0">
            <a:latin typeface="+mj-lt"/>
            <a:ea typeface="+mj-ea"/>
          </a:endParaRPr>
        </a:p>
      </dgm:t>
    </dgm:pt>
    <dgm:pt modelId="{1C2BA867-0415-4374-8049-71D6D9754068}">
      <dgm:prSet phldrT="[文本]" custT="1"/>
      <dgm:spPr/>
      <dgm:t>
        <a:bodyPr/>
        <a:lstStyle/>
        <a:p>
          <a:r>
            <a:rPr lang="zh-CN" altLang="en-US" sz="2400" b="1" baseline="0" dirty="0">
              <a:latin typeface="+mj-lt"/>
              <a:ea typeface="+mj-ea"/>
            </a:rPr>
            <a:t>二、研究进展</a:t>
          </a:r>
        </a:p>
      </dgm:t>
    </dgm:pt>
    <dgm:pt modelId="{79950879-47C6-4FB0-A264-4BAE4AA41D3C}" type="parTrans" cxnId="{7A364EEF-10E9-4217-9458-85D2D8F5757B}">
      <dgm:prSet/>
      <dgm:spPr/>
      <dgm:t>
        <a:bodyPr/>
        <a:lstStyle/>
        <a:p>
          <a:endParaRPr lang="zh-CN" altLang="en-US" b="1" baseline="0">
            <a:latin typeface="+mj-lt"/>
            <a:ea typeface="+mj-ea"/>
          </a:endParaRPr>
        </a:p>
      </dgm:t>
    </dgm:pt>
    <dgm:pt modelId="{EF757BCE-BDB0-421E-8A8B-4F16C4C8B1A5}" type="sibTrans" cxnId="{7A364EEF-10E9-4217-9458-85D2D8F5757B}">
      <dgm:prSet/>
      <dgm:spPr/>
      <dgm:t>
        <a:bodyPr/>
        <a:lstStyle/>
        <a:p>
          <a:endParaRPr lang="zh-CN" altLang="en-US" b="1" baseline="0">
            <a:latin typeface="+mj-lt"/>
            <a:ea typeface="+mj-ea"/>
          </a:endParaRPr>
        </a:p>
      </dgm:t>
    </dgm:pt>
    <dgm:pt modelId="{E20D742E-A10A-4FD6-80E2-CC54A9995630}">
      <dgm:prSet phldrT="[文本]" custT="1"/>
      <dgm:spPr/>
      <dgm:t>
        <a:bodyPr/>
        <a:lstStyle/>
        <a:p>
          <a:r>
            <a:rPr lang="zh-CN" altLang="en-US" sz="2400" b="1" baseline="0" dirty="0">
              <a:latin typeface="+mj-lt"/>
              <a:ea typeface="+mj-ea"/>
            </a:rPr>
            <a:t>五、研究总结</a:t>
          </a:r>
        </a:p>
      </dgm:t>
    </dgm:pt>
    <dgm:pt modelId="{688BF812-C887-41DC-81E3-D66AAE861178}" type="parTrans" cxnId="{44645192-59CA-4F06-91B1-E7997BDACB99}">
      <dgm:prSet/>
      <dgm:spPr/>
      <dgm:t>
        <a:bodyPr/>
        <a:lstStyle/>
        <a:p>
          <a:endParaRPr lang="zh-CN" altLang="en-US" b="1" baseline="0">
            <a:latin typeface="+mj-lt"/>
            <a:ea typeface="+mj-ea"/>
          </a:endParaRPr>
        </a:p>
      </dgm:t>
    </dgm:pt>
    <dgm:pt modelId="{A45458BD-71F2-4ECA-AC17-BD5D1799BCB5}" type="sibTrans" cxnId="{44645192-59CA-4F06-91B1-E7997BDACB99}">
      <dgm:prSet/>
      <dgm:spPr/>
      <dgm:t>
        <a:bodyPr/>
        <a:lstStyle/>
        <a:p>
          <a:endParaRPr lang="zh-CN" altLang="en-US" b="1" baseline="0">
            <a:latin typeface="+mj-lt"/>
            <a:ea typeface="+mj-ea"/>
          </a:endParaRPr>
        </a:p>
      </dgm:t>
    </dgm:pt>
    <dgm:pt modelId="{56DCA919-A76D-4556-905E-3980D2319160}">
      <dgm:prSet phldrT="[文本]" custT="1"/>
      <dgm:spPr/>
      <dgm:t>
        <a:bodyPr/>
        <a:lstStyle/>
        <a:p>
          <a:r>
            <a:rPr lang="zh-CN" altLang="en-US" sz="2400" b="1" baseline="0" dirty="0">
              <a:latin typeface="+mj-lt"/>
              <a:ea typeface="+mj-ea"/>
            </a:rPr>
            <a:t>四、核心问题</a:t>
          </a:r>
        </a:p>
      </dgm:t>
    </dgm:pt>
    <dgm:pt modelId="{22AE2F0F-D3C0-47E1-BBF2-57444397788B}" type="parTrans" cxnId="{0BD38653-503D-4A2A-9A4B-7994138AA980}">
      <dgm:prSet/>
      <dgm:spPr/>
      <dgm:t>
        <a:bodyPr/>
        <a:lstStyle/>
        <a:p>
          <a:endParaRPr lang="zh-CN" altLang="en-US" b="1" baseline="0">
            <a:latin typeface="+mj-lt"/>
            <a:ea typeface="+mj-ea"/>
          </a:endParaRPr>
        </a:p>
      </dgm:t>
    </dgm:pt>
    <dgm:pt modelId="{11AC6F58-C257-4BC5-BC4E-87FD3375086A}" type="sibTrans" cxnId="{0BD38653-503D-4A2A-9A4B-7994138AA980}">
      <dgm:prSet/>
      <dgm:spPr/>
      <dgm:t>
        <a:bodyPr/>
        <a:lstStyle/>
        <a:p>
          <a:endParaRPr lang="zh-CN" altLang="en-US" b="1" baseline="0">
            <a:latin typeface="+mj-lt"/>
            <a:ea typeface="+mj-ea"/>
          </a:endParaRPr>
        </a:p>
      </dgm:t>
    </dgm:pt>
    <dgm:pt modelId="{87525CB7-485E-49C4-ACDD-CD84F6FC342B}">
      <dgm:prSet custT="1"/>
      <dgm:spPr/>
      <dgm:t>
        <a:bodyPr/>
        <a:lstStyle/>
        <a:p>
          <a:r>
            <a:rPr lang="zh-CN" altLang="en-US" sz="2400" b="1" baseline="0" dirty="0">
              <a:latin typeface="+mj-lt"/>
              <a:ea typeface="+mj-ea"/>
            </a:rPr>
            <a:t>三、研究难点</a:t>
          </a:r>
        </a:p>
      </dgm:t>
    </dgm:pt>
    <dgm:pt modelId="{C3596A84-0D01-4336-B005-CCCDE05155BA}" type="parTrans" cxnId="{D30C605E-702F-4110-BB16-CBA74E5E82C7}">
      <dgm:prSet/>
      <dgm:spPr/>
      <dgm:t>
        <a:bodyPr/>
        <a:lstStyle/>
        <a:p>
          <a:endParaRPr lang="zh-CN" altLang="en-US" b="1" baseline="0">
            <a:latin typeface="+mj-lt"/>
            <a:ea typeface="+mj-ea"/>
          </a:endParaRPr>
        </a:p>
      </dgm:t>
    </dgm:pt>
    <dgm:pt modelId="{4D3FA473-DE47-4098-B68B-8B05300EE69F}" type="sibTrans" cxnId="{D30C605E-702F-4110-BB16-CBA74E5E82C7}">
      <dgm:prSet/>
      <dgm:spPr/>
      <dgm:t>
        <a:bodyPr/>
        <a:lstStyle/>
        <a:p>
          <a:endParaRPr lang="zh-CN" altLang="en-US" b="1" baseline="0">
            <a:latin typeface="+mj-lt"/>
            <a:ea typeface="+mj-ea"/>
          </a:endParaRPr>
        </a:p>
      </dgm:t>
    </dgm:pt>
    <dgm:pt modelId="{6B825217-2E82-4E43-A8A5-C42747EF872F}" type="pres">
      <dgm:prSet presAssocID="{EA32AD00-B718-40DD-8CC7-C8529EA12899}" presName="Name0" presStyleCnt="0">
        <dgm:presLayoutVars>
          <dgm:chMax val="7"/>
          <dgm:chPref val="7"/>
          <dgm:dir/>
        </dgm:presLayoutVars>
      </dgm:prSet>
      <dgm:spPr/>
    </dgm:pt>
    <dgm:pt modelId="{BD31C331-041D-4112-AECC-3B24E272516C}" type="pres">
      <dgm:prSet presAssocID="{EA32AD00-B718-40DD-8CC7-C8529EA12899}" presName="Name1" presStyleCnt="0"/>
      <dgm:spPr/>
    </dgm:pt>
    <dgm:pt modelId="{120E8A16-46E1-445A-82D0-01E718F02579}" type="pres">
      <dgm:prSet presAssocID="{EA32AD00-B718-40DD-8CC7-C8529EA12899}" presName="cycle" presStyleCnt="0"/>
      <dgm:spPr/>
    </dgm:pt>
    <dgm:pt modelId="{64477026-7F7B-4CAD-8F3F-C9A30866239E}" type="pres">
      <dgm:prSet presAssocID="{EA32AD00-B718-40DD-8CC7-C8529EA12899}" presName="srcNode" presStyleLbl="node1" presStyleIdx="0" presStyleCnt="5"/>
      <dgm:spPr/>
    </dgm:pt>
    <dgm:pt modelId="{D9836740-8F32-4A6E-B9DA-20521CCB6C3B}" type="pres">
      <dgm:prSet presAssocID="{EA32AD00-B718-40DD-8CC7-C8529EA12899}" presName="conn" presStyleLbl="parChTrans1D2" presStyleIdx="0" presStyleCnt="1"/>
      <dgm:spPr/>
    </dgm:pt>
    <dgm:pt modelId="{DFC24F6A-4920-4F1D-8C2E-039AA4DE5FBD}" type="pres">
      <dgm:prSet presAssocID="{EA32AD00-B718-40DD-8CC7-C8529EA12899}" presName="extraNode" presStyleLbl="node1" presStyleIdx="0" presStyleCnt="5"/>
      <dgm:spPr/>
    </dgm:pt>
    <dgm:pt modelId="{214FFE55-8C51-4958-B94C-B032D07973F2}" type="pres">
      <dgm:prSet presAssocID="{EA32AD00-B718-40DD-8CC7-C8529EA12899}" presName="dstNode" presStyleLbl="node1" presStyleIdx="0" presStyleCnt="5"/>
      <dgm:spPr/>
    </dgm:pt>
    <dgm:pt modelId="{F53966F7-68B4-4A42-84BD-08075DCE058D}" type="pres">
      <dgm:prSet presAssocID="{B16E8A84-984D-4BCB-AB22-26713767352D}" presName="text_1" presStyleLbl="node1" presStyleIdx="0" presStyleCnt="5">
        <dgm:presLayoutVars>
          <dgm:bulletEnabled val="1"/>
        </dgm:presLayoutVars>
      </dgm:prSet>
      <dgm:spPr/>
    </dgm:pt>
    <dgm:pt modelId="{FBBD8B03-9D4F-400D-8ED6-6D0AC4983602}" type="pres">
      <dgm:prSet presAssocID="{B16E8A84-984D-4BCB-AB22-26713767352D}" presName="accent_1" presStyleCnt="0"/>
      <dgm:spPr/>
    </dgm:pt>
    <dgm:pt modelId="{CADAC400-3ED5-4051-94A5-A917C1F29AC4}" type="pres">
      <dgm:prSet presAssocID="{B16E8A84-984D-4BCB-AB22-26713767352D}" presName="accentRepeatNode" presStyleLbl="solidFgAcc1" presStyleIdx="0" presStyleCnt="5"/>
      <dgm:spPr/>
    </dgm:pt>
    <dgm:pt modelId="{DA039C72-1F37-4EC5-B607-EE0E01615A24}" type="pres">
      <dgm:prSet presAssocID="{1C2BA867-0415-4374-8049-71D6D9754068}" presName="text_2" presStyleLbl="node1" presStyleIdx="1" presStyleCnt="5">
        <dgm:presLayoutVars>
          <dgm:bulletEnabled val="1"/>
        </dgm:presLayoutVars>
      </dgm:prSet>
      <dgm:spPr/>
    </dgm:pt>
    <dgm:pt modelId="{F69A4868-0606-43BD-99AE-675591CD1D65}" type="pres">
      <dgm:prSet presAssocID="{1C2BA867-0415-4374-8049-71D6D9754068}" presName="accent_2" presStyleCnt="0"/>
      <dgm:spPr/>
    </dgm:pt>
    <dgm:pt modelId="{86F70CEE-893E-4578-8E74-FFC214FC1E3F}" type="pres">
      <dgm:prSet presAssocID="{1C2BA867-0415-4374-8049-71D6D9754068}" presName="accentRepeatNode" presStyleLbl="solidFgAcc1" presStyleIdx="1" presStyleCnt="5"/>
      <dgm:spPr/>
    </dgm:pt>
    <dgm:pt modelId="{7159B85A-7720-4CDA-A97F-ADB6826898FA}" type="pres">
      <dgm:prSet presAssocID="{87525CB7-485E-49C4-ACDD-CD84F6FC342B}" presName="text_3" presStyleLbl="node1" presStyleIdx="2" presStyleCnt="5">
        <dgm:presLayoutVars>
          <dgm:bulletEnabled val="1"/>
        </dgm:presLayoutVars>
      </dgm:prSet>
      <dgm:spPr/>
    </dgm:pt>
    <dgm:pt modelId="{C9E3AE00-F63D-4BE9-A21A-4D4BF5154848}" type="pres">
      <dgm:prSet presAssocID="{87525CB7-485E-49C4-ACDD-CD84F6FC342B}" presName="accent_3" presStyleCnt="0"/>
      <dgm:spPr/>
    </dgm:pt>
    <dgm:pt modelId="{77EF768E-54AE-4211-A9D2-B8093C3E2B28}" type="pres">
      <dgm:prSet presAssocID="{87525CB7-485E-49C4-ACDD-CD84F6FC342B}" presName="accentRepeatNode" presStyleLbl="solidFgAcc1" presStyleIdx="2" presStyleCnt="5"/>
      <dgm:spPr/>
    </dgm:pt>
    <dgm:pt modelId="{3132BE58-A131-4104-9340-E7FB067B23A4}" type="pres">
      <dgm:prSet presAssocID="{56DCA919-A76D-4556-905E-3980D2319160}" presName="text_4" presStyleLbl="node1" presStyleIdx="3" presStyleCnt="5">
        <dgm:presLayoutVars>
          <dgm:bulletEnabled val="1"/>
        </dgm:presLayoutVars>
      </dgm:prSet>
      <dgm:spPr/>
    </dgm:pt>
    <dgm:pt modelId="{3D2ED39F-794F-48F5-9C06-82F1C8148EEF}" type="pres">
      <dgm:prSet presAssocID="{56DCA919-A76D-4556-905E-3980D2319160}" presName="accent_4" presStyleCnt="0"/>
      <dgm:spPr/>
    </dgm:pt>
    <dgm:pt modelId="{6ACC40D6-AE3B-42F4-8B2B-7F14415D0320}" type="pres">
      <dgm:prSet presAssocID="{56DCA919-A76D-4556-905E-3980D2319160}" presName="accentRepeatNode" presStyleLbl="solidFgAcc1" presStyleIdx="3" presStyleCnt="5"/>
      <dgm:spPr/>
    </dgm:pt>
    <dgm:pt modelId="{1B7B0232-A280-45CD-856E-18CE881358C0}" type="pres">
      <dgm:prSet presAssocID="{E20D742E-A10A-4FD6-80E2-CC54A9995630}" presName="text_5" presStyleLbl="node1" presStyleIdx="4" presStyleCnt="5">
        <dgm:presLayoutVars>
          <dgm:bulletEnabled val="1"/>
        </dgm:presLayoutVars>
      </dgm:prSet>
      <dgm:spPr/>
    </dgm:pt>
    <dgm:pt modelId="{5A8F206B-937D-4D39-962D-3536A3AA506E}" type="pres">
      <dgm:prSet presAssocID="{E20D742E-A10A-4FD6-80E2-CC54A9995630}" presName="accent_5" presStyleCnt="0"/>
      <dgm:spPr/>
    </dgm:pt>
    <dgm:pt modelId="{64D9C102-4F73-4889-AA2D-0C8FBCC7900E}" type="pres">
      <dgm:prSet presAssocID="{E20D742E-A10A-4FD6-80E2-CC54A9995630}" presName="accentRepeatNode" presStyleLbl="solidFgAcc1" presStyleIdx="4" presStyleCnt="5"/>
      <dgm:spPr/>
    </dgm:pt>
  </dgm:ptLst>
  <dgm:cxnLst>
    <dgm:cxn modelId="{68A5430F-0352-47D6-9B4D-6F73DEDB9C21}" type="presOf" srcId="{B16E8A84-984D-4BCB-AB22-26713767352D}" destId="{F53966F7-68B4-4A42-84BD-08075DCE058D}" srcOrd="0" destOrd="0" presId="urn:microsoft.com/office/officeart/2008/layout/VerticalCurvedList"/>
    <dgm:cxn modelId="{5E1FBD26-C6B9-4B3E-AAFC-077F54A002B6}" srcId="{EA32AD00-B718-40DD-8CC7-C8529EA12899}" destId="{B16E8A84-984D-4BCB-AB22-26713767352D}" srcOrd="0" destOrd="0" parTransId="{65178C78-D7BA-4843-882E-EC40E0868149}" sibTransId="{7A7678C5-7BA6-4E5E-B9D8-24B8D29B3C63}"/>
    <dgm:cxn modelId="{D30C605E-702F-4110-BB16-CBA74E5E82C7}" srcId="{EA32AD00-B718-40DD-8CC7-C8529EA12899}" destId="{87525CB7-485E-49C4-ACDD-CD84F6FC342B}" srcOrd="2" destOrd="0" parTransId="{C3596A84-0D01-4336-B005-CCCDE05155BA}" sibTransId="{4D3FA473-DE47-4098-B68B-8B05300EE69F}"/>
    <dgm:cxn modelId="{6065BD51-F0B7-4DB0-B39E-411930A13870}" type="presOf" srcId="{1C2BA867-0415-4374-8049-71D6D9754068}" destId="{DA039C72-1F37-4EC5-B607-EE0E01615A24}" srcOrd="0" destOrd="0" presId="urn:microsoft.com/office/officeart/2008/layout/VerticalCurvedList"/>
    <dgm:cxn modelId="{0BD38653-503D-4A2A-9A4B-7994138AA980}" srcId="{EA32AD00-B718-40DD-8CC7-C8529EA12899}" destId="{56DCA919-A76D-4556-905E-3980D2319160}" srcOrd="3" destOrd="0" parTransId="{22AE2F0F-D3C0-47E1-BBF2-57444397788B}" sibTransId="{11AC6F58-C257-4BC5-BC4E-87FD3375086A}"/>
    <dgm:cxn modelId="{CCE57580-D1F8-4D9D-9440-EDF0BE8F5E6A}" type="presOf" srcId="{7A7678C5-7BA6-4E5E-B9D8-24B8D29B3C63}" destId="{D9836740-8F32-4A6E-B9DA-20521CCB6C3B}" srcOrd="0" destOrd="0" presId="urn:microsoft.com/office/officeart/2008/layout/VerticalCurvedList"/>
    <dgm:cxn modelId="{5373B18A-D44E-4CD6-B0B8-69294F40B93E}" type="presOf" srcId="{56DCA919-A76D-4556-905E-3980D2319160}" destId="{3132BE58-A131-4104-9340-E7FB067B23A4}" srcOrd="0" destOrd="0" presId="urn:microsoft.com/office/officeart/2008/layout/VerticalCurvedList"/>
    <dgm:cxn modelId="{44645192-59CA-4F06-91B1-E7997BDACB99}" srcId="{EA32AD00-B718-40DD-8CC7-C8529EA12899}" destId="{E20D742E-A10A-4FD6-80E2-CC54A9995630}" srcOrd="4" destOrd="0" parTransId="{688BF812-C887-41DC-81E3-D66AAE861178}" sibTransId="{A45458BD-71F2-4ECA-AC17-BD5D1799BCB5}"/>
    <dgm:cxn modelId="{F36C35C4-855F-4D2B-A8EB-E36E70B63ED8}" type="presOf" srcId="{EA32AD00-B718-40DD-8CC7-C8529EA12899}" destId="{6B825217-2E82-4E43-A8A5-C42747EF872F}" srcOrd="0" destOrd="0" presId="urn:microsoft.com/office/officeart/2008/layout/VerticalCurvedList"/>
    <dgm:cxn modelId="{71D3A7CE-A0AB-4881-8E02-633A2D0CEF5C}" type="presOf" srcId="{87525CB7-485E-49C4-ACDD-CD84F6FC342B}" destId="{7159B85A-7720-4CDA-A97F-ADB6826898FA}" srcOrd="0" destOrd="0" presId="urn:microsoft.com/office/officeart/2008/layout/VerticalCurvedList"/>
    <dgm:cxn modelId="{AB73F2EA-0ED1-4266-920F-4BDD94568806}" type="presOf" srcId="{E20D742E-A10A-4FD6-80E2-CC54A9995630}" destId="{1B7B0232-A280-45CD-856E-18CE881358C0}" srcOrd="0" destOrd="0" presId="urn:microsoft.com/office/officeart/2008/layout/VerticalCurvedList"/>
    <dgm:cxn modelId="{7A364EEF-10E9-4217-9458-85D2D8F5757B}" srcId="{EA32AD00-B718-40DD-8CC7-C8529EA12899}" destId="{1C2BA867-0415-4374-8049-71D6D9754068}" srcOrd="1" destOrd="0" parTransId="{79950879-47C6-4FB0-A264-4BAE4AA41D3C}" sibTransId="{EF757BCE-BDB0-421E-8A8B-4F16C4C8B1A5}"/>
    <dgm:cxn modelId="{767FF2E3-E989-4D22-A91F-9158A6160D1B}" type="presParOf" srcId="{6B825217-2E82-4E43-A8A5-C42747EF872F}" destId="{BD31C331-041D-4112-AECC-3B24E272516C}" srcOrd="0" destOrd="0" presId="urn:microsoft.com/office/officeart/2008/layout/VerticalCurvedList"/>
    <dgm:cxn modelId="{BC932F29-BDA2-4B46-A3C5-EEF0DF6FE045}" type="presParOf" srcId="{BD31C331-041D-4112-AECC-3B24E272516C}" destId="{120E8A16-46E1-445A-82D0-01E718F02579}" srcOrd="0" destOrd="0" presId="urn:microsoft.com/office/officeart/2008/layout/VerticalCurvedList"/>
    <dgm:cxn modelId="{A96DE015-0B1B-44C8-BA6B-18D4C7E79D32}" type="presParOf" srcId="{120E8A16-46E1-445A-82D0-01E718F02579}" destId="{64477026-7F7B-4CAD-8F3F-C9A30866239E}" srcOrd="0" destOrd="0" presId="urn:microsoft.com/office/officeart/2008/layout/VerticalCurvedList"/>
    <dgm:cxn modelId="{A0187955-1A5C-4FA7-AA2B-B5F1D0470BA8}" type="presParOf" srcId="{120E8A16-46E1-445A-82D0-01E718F02579}" destId="{D9836740-8F32-4A6E-B9DA-20521CCB6C3B}" srcOrd="1" destOrd="0" presId="urn:microsoft.com/office/officeart/2008/layout/VerticalCurvedList"/>
    <dgm:cxn modelId="{58AD278B-143F-48FB-BEF3-53554D66EF97}" type="presParOf" srcId="{120E8A16-46E1-445A-82D0-01E718F02579}" destId="{DFC24F6A-4920-4F1D-8C2E-039AA4DE5FBD}" srcOrd="2" destOrd="0" presId="urn:microsoft.com/office/officeart/2008/layout/VerticalCurvedList"/>
    <dgm:cxn modelId="{A31B8203-31E3-4D25-AA5C-0321E88C544E}" type="presParOf" srcId="{120E8A16-46E1-445A-82D0-01E718F02579}" destId="{214FFE55-8C51-4958-B94C-B032D07973F2}" srcOrd="3" destOrd="0" presId="urn:microsoft.com/office/officeart/2008/layout/VerticalCurvedList"/>
    <dgm:cxn modelId="{A479D52F-2678-40A5-976D-9B99935C226E}" type="presParOf" srcId="{BD31C331-041D-4112-AECC-3B24E272516C}" destId="{F53966F7-68B4-4A42-84BD-08075DCE058D}" srcOrd="1" destOrd="0" presId="urn:microsoft.com/office/officeart/2008/layout/VerticalCurvedList"/>
    <dgm:cxn modelId="{AD2913EC-5C22-468D-9D14-EE72B404E5F8}" type="presParOf" srcId="{BD31C331-041D-4112-AECC-3B24E272516C}" destId="{FBBD8B03-9D4F-400D-8ED6-6D0AC4983602}" srcOrd="2" destOrd="0" presId="urn:microsoft.com/office/officeart/2008/layout/VerticalCurvedList"/>
    <dgm:cxn modelId="{DCCC2C22-8CBE-4E45-87A0-D85C373DC409}" type="presParOf" srcId="{FBBD8B03-9D4F-400D-8ED6-6D0AC4983602}" destId="{CADAC400-3ED5-4051-94A5-A917C1F29AC4}" srcOrd="0" destOrd="0" presId="urn:microsoft.com/office/officeart/2008/layout/VerticalCurvedList"/>
    <dgm:cxn modelId="{7B525807-DFC3-4F3E-B246-4DAD665E0BC9}" type="presParOf" srcId="{BD31C331-041D-4112-AECC-3B24E272516C}" destId="{DA039C72-1F37-4EC5-B607-EE0E01615A24}" srcOrd="3" destOrd="0" presId="urn:microsoft.com/office/officeart/2008/layout/VerticalCurvedList"/>
    <dgm:cxn modelId="{A350776F-5BF5-4262-A11A-B645C2471CBC}" type="presParOf" srcId="{BD31C331-041D-4112-AECC-3B24E272516C}" destId="{F69A4868-0606-43BD-99AE-675591CD1D65}" srcOrd="4" destOrd="0" presId="urn:microsoft.com/office/officeart/2008/layout/VerticalCurvedList"/>
    <dgm:cxn modelId="{7712A78B-77CB-4CE5-B8FB-F738CC5474EE}" type="presParOf" srcId="{F69A4868-0606-43BD-99AE-675591CD1D65}" destId="{86F70CEE-893E-4578-8E74-FFC214FC1E3F}" srcOrd="0" destOrd="0" presId="urn:microsoft.com/office/officeart/2008/layout/VerticalCurvedList"/>
    <dgm:cxn modelId="{CC4E69C5-DD87-4BDB-86AA-CDC975DAC92A}" type="presParOf" srcId="{BD31C331-041D-4112-AECC-3B24E272516C}" destId="{7159B85A-7720-4CDA-A97F-ADB6826898FA}" srcOrd="5" destOrd="0" presId="urn:microsoft.com/office/officeart/2008/layout/VerticalCurvedList"/>
    <dgm:cxn modelId="{12A648A1-975E-448E-B206-8CB0A69C0567}" type="presParOf" srcId="{BD31C331-041D-4112-AECC-3B24E272516C}" destId="{C9E3AE00-F63D-4BE9-A21A-4D4BF5154848}" srcOrd="6" destOrd="0" presId="urn:microsoft.com/office/officeart/2008/layout/VerticalCurvedList"/>
    <dgm:cxn modelId="{7A535361-8449-4181-9B99-235CF3534403}" type="presParOf" srcId="{C9E3AE00-F63D-4BE9-A21A-4D4BF5154848}" destId="{77EF768E-54AE-4211-A9D2-B8093C3E2B28}" srcOrd="0" destOrd="0" presId="urn:microsoft.com/office/officeart/2008/layout/VerticalCurvedList"/>
    <dgm:cxn modelId="{64E779A3-78C3-4893-AE53-BD93B44F2E4E}" type="presParOf" srcId="{BD31C331-041D-4112-AECC-3B24E272516C}" destId="{3132BE58-A131-4104-9340-E7FB067B23A4}" srcOrd="7" destOrd="0" presId="urn:microsoft.com/office/officeart/2008/layout/VerticalCurvedList"/>
    <dgm:cxn modelId="{2FA4583A-94BE-449B-90E5-2B0646F6ECD3}" type="presParOf" srcId="{BD31C331-041D-4112-AECC-3B24E272516C}" destId="{3D2ED39F-794F-48F5-9C06-82F1C8148EEF}" srcOrd="8" destOrd="0" presId="urn:microsoft.com/office/officeart/2008/layout/VerticalCurvedList"/>
    <dgm:cxn modelId="{02AA5AFC-5DA9-4CF2-918F-49E1DABCA97A}" type="presParOf" srcId="{3D2ED39F-794F-48F5-9C06-82F1C8148EEF}" destId="{6ACC40D6-AE3B-42F4-8B2B-7F14415D0320}" srcOrd="0" destOrd="0" presId="urn:microsoft.com/office/officeart/2008/layout/VerticalCurvedList"/>
    <dgm:cxn modelId="{769384B1-6952-4389-AA3E-0E39845DBC96}" type="presParOf" srcId="{BD31C331-041D-4112-AECC-3B24E272516C}" destId="{1B7B0232-A280-45CD-856E-18CE881358C0}" srcOrd="9" destOrd="0" presId="urn:microsoft.com/office/officeart/2008/layout/VerticalCurvedList"/>
    <dgm:cxn modelId="{BCC99552-E0B7-498D-8413-CDD253C4A176}" type="presParOf" srcId="{BD31C331-041D-4112-AECC-3B24E272516C}" destId="{5A8F206B-937D-4D39-962D-3536A3AA506E}" srcOrd="10" destOrd="0" presId="urn:microsoft.com/office/officeart/2008/layout/VerticalCurvedList"/>
    <dgm:cxn modelId="{F4291D32-3057-4BC5-83E2-E4F8398656EC}" type="presParOf" srcId="{5A8F206B-937D-4D39-962D-3536A3AA506E}" destId="{64D9C102-4F73-4889-AA2D-0C8FBCC7900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32AD00-B718-40DD-8CC7-C8529EA1289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CN" altLang="en-US"/>
        </a:p>
      </dgm:t>
    </dgm:pt>
    <dgm:pt modelId="{B16E8A84-984D-4BCB-AB22-26713767352D}">
      <dgm:prSet phldrT="[文本]" custT="1"/>
      <dgm:spPr>
        <a:solidFill>
          <a:srgbClr val="003472"/>
        </a:solidFill>
      </dgm:spPr>
      <dgm:t>
        <a:bodyPr/>
        <a:lstStyle/>
        <a:p>
          <a:r>
            <a:rPr lang="zh-CN" altLang="en-US" sz="2400" b="1" dirty="0"/>
            <a:t>一、信道编码简介</a:t>
          </a:r>
          <a:endParaRPr lang="zh-CN" altLang="en-US" sz="2400" b="1" dirty="0">
            <a:latin typeface="+mn-ea"/>
            <a:ea typeface="+mn-ea"/>
          </a:endParaRPr>
        </a:p>
      </dgm:t>
    </dgm:pt>
    <dgm:pt modelId="{65178C78-D7BA-4843-882E-EC40E0868149}" type="parTrans" cxnId="{5E1FBD26-C6B9-4B3E-AAFC-077F54A002B6}">
      <dgm:prSet/>
      <dgm:spPr/>
      <dgm:t>
        <a:bodyPr/>
        <a:lstStyle/>
        <a:p>
          <a:endParaRPr lang="zh-CN" altLang="en-US" b="1"/>
        </a:p>
      </dgm:t>
    </dgm:pt>
    <dgm:pt modelId="{7A7678C5-7BA6-4E5E-B9D8-24B8D29B3C63}" type="sibTrans" cxnId="{5E1FBD26-C6B9-4B3E-AAFC-077F54A002B6}">
      <dgm:prSet/>
      <dgm:spPr/>
      <dgm:t>
        <a:bodyPr/>
        <a:lstStyle/>
        <a:p>
          <a:endParaRPr lang="zh-CN" altLang="en-US" b="1"/>
        </a:p>
      </dgm:t>
    </dgm:pt>
    <dgm:pt modelId="{1C2BA867-0415-4374-8049-71D6D9754068}">
      <dgm:prSet phldrT="[文本]" custT="1"/>
      <dgm:spPr>
        <a:solidFill>
          <a:srgbClr val="FF0000"/>
        </a:solidFill>
      </dgm:spPr>
      <dgm:t>
        <a:bodyPr/>
        <a:lstStyle/>
        <a:p>
          <a:r>
            <a:rPr lang="zh-CN" altLang="en-US" sz="2400" b="1" dirty="0"/>
            <a:t>二、极化码原理</a:t>
          </a:r>
        </a:p>
      </dgm:t>
    </dgm:pt>
    <dgm:pt modelId="{79950879-47C6-4FB0-A264-4BAE4AA41D3C}" type="parTrans" cxnId="{7A364EEF-10E9-4217-9458-85D2D8F5757B}">
      <dgm:prSet/>
      <dgm:spPr/>
      <dgm:t>
        <a:bodyPr/>
        <a:lstStyle/>
        <a:p>
          <a:endParaRPr lang="zh-CN" altLang="en-US" b="1"/>
        </a:p>
      </dgm:t>
    </dgm:pt>
    <dgm:pt modelId="{EF757BCE-BDB0-421E-8A8B-4F16C4C8B1A5}" type="sibTrans" cxnId="{7A364EEF-10E9-4217-9458-85D2D8F5757B}">
      <dgm:prSet/>
      <dgm:spPr/>
      <dgm:t>
        <a:bodyPr/>
        <a:lstStyle/>
        <a:p>
          <a:endParaRPr lang="zh-CN" altLang="en-US" b="1"/>
        </a:p>
      </dgm:t>
    </dgm:pt>
    <dgm:pt modelId="{E20D742E-A10A-4FD6-80E2-CC54A9995630}">
      <dgm:prSet phldrT="[文本]" custT="1"/>
      <dgm:spPr/>
      <dgm:t>
        <a:bodyPr/>
        <a:lstStyle/>
        <a:p>
          <a:r>
            <a:rPr lang="zh-CN" altLang="en-US" sz="2400" b="1" dirty="0"/>
            <a:t>五、总结</a:t>
          </a:r>
        </a:p>
      </dgm:t>
    </dgm:pt>
    <dgm:pt modelId="{688BF812-C887-41DC-81E3-D66AAE861178}" type="parTrans" cxnId="{44645192-59CA-4F06-91B1-E7997BDACB99}">
      <dgm:prSet/>
      <dgm:spPr/>
      <dgm:t>
        <a:bodyPr/>
        <a:lstStyle/>
        <a:p>
          <a:endParaRPr lang="zh-CN" altLang="en-US" b="1"/>
        </a:p>
      </dgm:t>
    </dgm:pt>
    <dgm:pt modelId="{A45458BD-71F2-4ECA-AC17-BD5D1799BCB5}" type="sibTrans" cxnId="{44645192-59CA-4F06-91B1-E7997BDACB99}">
      <dgm:prSet/>
      <dgm:spPr/>
      <dgm:t>
        <a:bodyPr/>
        <a:lstStyle/>
        <a:p>
          <a:endParaRPr lang="zh-CN" altLang="en-US" b="1"/>
        </a:p>
      </dgm:t>
    </dgm:pt>
    <dgm:pt modelId="{56DCA919-A76D-4556-905E-3980D2319160}">
      <dgm:prSet phldrT="[文本]" custT="1"/>
      <dgm:spPr/>
      <dgm:t>
        <a:bodyPr/>
        <a:lstStyle/>
        <a:p>
          <a:r>
            <a:rPr lang="zh-CN" altLang="en-US" sz="2400" b="1" dirty="0"/>
            <a:t>四、面向物理层安全的编码方案</a:t>
          </a:r>
        </a:p>
      </dgm:t>
    </dgm:pt>
    <dgm:pt modelId="{22AE2F0F-D3C0-47E1-BBF2-57444397788B}" type="parTrans" cxnId="{0BD38653-503D-4A2A-9A4B-7994138AA980}">
      <dgm:prSet/>
      <dgm:spPr/>
      <dgm:t>
        <a:bodyPr/>
        <a:lstStyle/>
        <a:p>
          <a:endParaRPr lang="zh-CN" altLang="en-US" b="1"/>
        </a:p>
      </dgm:t>
    </dgm:pt>
    <dgm:pt modelId="{11AC6F58-C257-4BC5-BC4E-87FD3375086A}" type="sibTrans" cxnId="{0BD38653-503D-4A2A-9A4B-7994138AA980}">
      <dgm:prSet/>
      <dgm:spPr/>
      <dgm:t>
        <a:bodyPr/>
        <a:lstStyle/>
        <a:p>
          <a:endParaRPr lang="zh-CN" altLang="en-US" b="1"/>
        </a:p>
      </dgm:t>
    </dgm:pt>
    <dgm:pt modelId="{87525CB7-485E-49C4-ACDD-CD84F6FC342B}">
      <dgm:prSet custT="1"/>
      <dgm:spPr/>
      <dgm:t>
        <a:bodyPr/>
        <a:lstStyle/>
        <a:p>
          <a:r>
            <a:rPr lang="zh-CN" altLang="en-US" sz="2400" b="1" dirty="0"/>
            <a:t>三、窃听信道模型</a:t>
          </a:r>
        </a:p>
      </dgm:t>
    </dgm:pt>
    <dgm:pt modelId="{C3596A84-0D01-4336-B005-CCCDE05155BA}" type="parTrans" cxnId="{D30C605E-702F-4110-BB16-CBA74E5E82C7}">
      <dgm:prSet/>
      <dgm:spPr/>
      <dgm:t>
        <a:bodyPr/>
        <a:lstStyle/>
        <a:p>
          <a:endParaRPr lang="zh-CN" altLang="en-US" b="1"/>
        </a:p>
      </dgm:t>
    </dgm:pt>
    <dgm:pt modelId="{4D3FA473-DE47-4098-B68B-8B05300EE69F}" type="sibTrans" cxnId="{D30C605E-702F-4110-BB16-CBA74E5E82C7}">
      <dgm:prSet/>
      <dgm:spPr/>
      <dgm:t>
        <a:bodyPr/>
        <a:lstStyle/>
        <a:p>
          <a:endParaRPr lang="zh-CN" altLang="en-US" b="1"/>
        </a:p>
      </dgm:t>
    </dgm:pt>
    <dgm:pt modelId="{6B825217-2E82-4E43-A8A5-C42747EF872F}" type="pres">
      <dgm:prSet presAssocID="{EA32AD00-B718-40DD-8CC7-C8529EA12899}" presName="Name0" presStyleCnt="0">
        <dgm:presLayoutVars>
          <dgm:chMax val="7"/>
          <dgm:chPref val="7"/>
          <dgm:dir/>
        </dgm:presLayoutVars>
      </dgm:prSet>
      <dgm:spPr/>
    </dgm:pt>
    <dgm:pt modelId="{BD31C331-041D-4112-AECC-3B24E272516C}" type="pres">
      <dgm:prSet presAssocID="{EA32AD00-B718-40DD-8CC7-C8529EA12899}" presName="Name1" presStyleCnt="0"/>
      <dgm:spPr/>
    </dgm:pt>
    <dgm:pt modelId="{120E8A16-46E1-445A-82D0-01E718F02579}" type="pres">
      <dgm:prSet presAssocID="{EA32AD00-B718-40DD-8CC7-C8529EA12899}" presName="cycle" presStyleCnt="0"/>
      <dgm:spPr/>
    </dgm:pt>
    <dgm:pt modelId="{64477026-7F7B-4CAD-8F3F-C9A30866239E}" type="pres">
      <dgm:prSet presAssocID="{EA32AD00-B718-40DD-8CC7-C8529EA12899}" presName="srcNode" presStyleLbl="node1" presStyleIdx="0" presStyleCnt="5"/>
      <dgm:spPr/>
    </dgm:pt>
    <dgm:pt modelId="{D9836740-8F32-4A6E-B9DA-20521CCB6C3B}" type="pres">
      <dgm:prSet presAssocID="{EA32AD00-B718-40DD-8CC7-C8529EA12899}" presName="conn" presStyleLbl="parChTrans1D2" presStyleIdx="0" presStyleCnt="1"/>
      <dgm:spPr/>
    </dgm:pt>
    <dgm:pt modelId="{DFC24F6A-4920-4F1D-8C2E-039AA4DE5FBD}" type="pres">
      <dgm:prSet presAssocID="{EA32AD00-B718-40DD-8CC7-C8529EA12899}" presName="extraNode" presStyleLbl="node1" presStyleIdx="0" presStyleCnt="5"/>
      <dgm:spPr/>
    </dgm:pt>
    <dgm:pt modelId="{214FFE55-8C51-4958-B94C-B032D07973F2}" type="pres">
      <dgm:prSet presAssocID="{EA32AD00-B718-40DD-8CC7-C8529EA12899}" presName="dstNode" presStyleLbl="node1" presStyleIdx="0" presStyleCnt="5"/>
      <dgm:spPr/>
    </dgm:pt>
    <dgm:pt modelId="{F53966F7-68B4-4A42-84BD-08075DCE058D}" type="pres">
      <dgm:prSet presAssocID="{B16E8A84-984D-4BCB-AB22-26713767352D}" presName="text_1" presStyleLbl="node1" presStyleIdx="0" presStyleCnt="5">
        <dgm:presLayoutVars>
          <dgm:bulletEnabled val="1"/>
        </dgm:presLayoutVars>
      </dgm:prSet>
      <dgm:spPr/>
    </dgm:pt>
    <dgm:pt modelId="{FBBD8B03-9D4F-400D-8ED6-6D0AC4983602}" type="pres">
      <dgm:prSet presAssocID="{B16E8A84-984D-4BCB-AB22-26713767352D}" presName="accent_1" presStyleCnt="0"/>
      <dgm:spPr/>
    </dgm:pt>
    <dgm:pt modelId="{CADAC400-3ED5-4051-94A5-A917C1F29AC4}" type="pres">
      <dgm:prSet presAssocID="{B16E8A84-984D-4BCB-AB22-26713767352D}" presName="accentRepeatNode" presStyleLbl="solidFgAcc1" presStyleIdx="0" presStyleCnt="5"/>
      <dgm:spPr/>
    </dgm:pt>
    <dgm:pt modelId="{DA039C72-1F37-4EC5-B607-EE0E01615A24}" type="pres">
      <dgm:prSet presAssocID="{1C2BA867-0415-4374-8049-71D6D9754068}" presName="text_2" presStyleLbl="node1" presStyleIdx="1" presStyleCnt="5">
        <dgm:presLayoutVars>
          <dgm:bulletEnabled val="1"/>
        </dgm:presLayoutVars>
      </dgm:prSet>
      <dgm:spPr/>
    </dgm:pt>
    <dgm:pt modelId="{F69A4868-0606-43BD-99AE-675591CD1D65}" type="pres">
      <dgm:prSet presAssocID="{1C2BA867-0415-4374-8049-71D6D9754068}" presName="accent_2" presStyleCnt="0"/>
      <dgm:spPr/>
    </dgm:pt>
    <dgm:pt modelId="{86F70CEE-893E-4578-8E74-FFC214FC1E3F}" type="pres">
      <dgm:prSet presAssocID="{1C2BA867-0415-4374-8049-71D6D9754068}" presName="accentRepeatNode" presStyleLbl="solidFgAcc1" presStyleIdx="1" presStyleCnt="5"/>
      <dgm:spPr/>
    </dgm:pt>
    <dgm:pt modelId="{7159B85A-7720-4CDA-A97F-ADB6826898FA}" type="pres">
      <dgm:prSet presAssocID="{87525CB7-485E-49C4-ACDD-CD84F6FC342B}" presName="text_3" presStyleLbl="node1" presStyleIdx="2" presStyleCnt="5">
        <dgm:presLayoutVars>
          <dgm:bulletEnabled val="1"/>
        </dgm:presLayoutVars>
      </dgm:prSet>
      <dgm:spPr/>
    </dgm:pt>
    <dgm:pt modelId="{C9E3AE00-F63D-4BE9-A21A-4D4BF5154848}" type="pres">
      <dgm:prSet presAssocID="{87525CB7-485E-49C4-ACDD-CD84F6FC342B}" presName="accent_3" presStyleCnt="0"/>
      <dgm:spPr/>
    </dgm:pt>
    <dgm:pt modelId="{77EF768E-54AE-4211-A9D2-B8093C3E2B28}" type="pres">
      <dgm:prSet presAssocID="{87525CB7-485E-49C4-ACDD-CD84F6FC342B}" presName="accentRepeatNode" presStyleLbl="solidFgAcc1" presStyleIdx="2" presStyleCnt="5"/>
      <dgm:spPr/>
    </dgm:pt>
    <dgm:pt modelId="{3132BE58-A131-4104-9340-E7FB067B23A4}" type="pres">
      <dgm:prSet presAssocID="{56DCA919-A76D-4556-905E-3980D2319160}" presName="text_4" presStyleLbl="node1" presStyleIdx="3" presStyleCnt="5">
        <dgm:presLayoutVars>
          <dgm:bulletEnabled val="1"/>
        </dgm:presLayoutVars>
      </dgm:prSet>
      <dgm:spPr/>
    </dgm:pt>
    <dgm:pt modelId="{3D2ED39F-794F-48F5-9C06-82F1C8148EEF}" type="pres">
      <dgm:prSet presAssocID="{56DCA919-A76D-4556-905E-3980D2319160}" presName="accent_4" presStyleCnt="0"/>
      <dgm:spPr/>
    </dgm:pt>
    <dgm:pt modelId="{6ACC40D6-AE3B-42F4-8B2B-7F14415D0320}" type="pres">
      <dgm:prSet presAssocID="{56DCA919-A76D-4556-905E-3980D2319160}" presName="accentRepeatNode" presStyleLbl="solidFgAcc1" presStyleIdx="3" presStyleCnt="5"/>
      <dgm:spPr/>
    </dgm:pt>
    <dgm:pt modelId="{1B7B0232-A280-45CD-856E-18CE881358C0}" type="pres">
      <dgm:prSet presAssocID="{E20D742E-A10A-4FD6-80E2-CC54A9995630}" presName="text_5" presStyleLbl="node1" presStyleIdx="4" presStyleCnt="5">
        <dgm:presLayoutVars>
          <dgm:bulletEnabled val="1"/>
        </dgm:presLayoutVars>
      </dgm:prSet>
      <dgm:spPr/>
    </dgm:pt>
    <dgm:pt modelId="{5A8F206B-937D-4D39-962D-3536A3AA506E}" type="pres">
      <dgm:prSet presAssocID="{E20D742E-A10A-4FD6-80E2-CC54A9995630}" presName="accent_5" presStyleCnt="0"/>
      <dgm:spPr/>
    </dgm:pt>
    <dgm:pt modelId="{64D9C102-4F73-4889-AA2D-0C8FBCC7900E}" type="pres">
      <dgm:prSet presAssocID="{E20D742E-A10A-4FD6-80E2-CC54A9995630}" presName="accentRepeatNode" presStyleLbl="solidFgAcc1" presStyleIdx="4" presStyleCnt="5"/>
      <dgm:spPr/>
    </dgm:pt>
  </dgm:ptLst>
  <dgm:cxnLst>
    <dgm:cxn modelId="{48CFC225-8E77-438E-AB07-03D5FBF47E78}" type="presOf" srcId="{E20D742E-A10A-4FD6-80E2-CC54A9995630}" destId="{1B7B0232-A280-45CD-856E-18CE881358C0}" srcOrd="0" destOrd="0" presId="urn:microsoft.com/office/officeart/2008/layout/VerticalCurvedList"/>
    <dgm:cxn modelId="{5E1FBD26-C6B9-4B3E-AAFC-077F54A002B6}" srcId="{EA32AD00-B718-40DD-8CC7-C8529EA12899}" destId="{B16E8A84-984D-4BCB-AB22-26713767352D}" srcOrd="0" destOrd="0" parTransId="{65178C78-D7BA-4843-882E-EC40E0868149}" sibTransId="{7A7678C5-7BA6-4E5E-B9D8-24B8D29B3C63}"/>
    <dgm:cxn modelId="{591E8832-9867-463F-9216-513CB73A0AD7}" type="presOf" srcId="{87525CB7-485E-49C4-ACDD-CD84F6FC342B}" destId="{7159B85A-7720-4CDA-A97F-ADB6826898FA}" srcOrd="0" destOrd="0" presId="urn:microsoft.com/office/officeart/2008/layout/VerticalCurvedList"/>
    <dgm:cxn modelId="{01FD7335-7EFA-4158-9A07-C0A01A68E222}" type="presOf" srcId="{EA32AD00-B718-40DD-8CC7-C8529EA12899}" destId="{6B825217-2E82-4E43-A8A5-C42747EF872F}" srcOrd="0" destOrd="0" presId="urn:microsoft.com/office/officeart/2008/layout/VerticalCurvedList"/>
    <dgm:cxn modelId="{AD28013E-F474-416E-8DF6-8C1E84EBB039}" type="presOf" srcId="{B16E8A84-984D-4BCB-AB22-26713767352D}" destId="{F53966F7-68B4-4A42-84BD-08075DCE058D}" srcOrd="0" destOrd="0" presId="urn:microsoft.com/office/officeart/2008/layout/VerticalCurvedList"/>
    <dgm:cxn modelId="{D30C605E-702F-4110-BB16-CBA74E5E82C7}" srcId="{EA32AD00-B718-40DD-8CC7-C8529EA12899}" destId="{87525CB7-485E-49C4-ACDD-CD84F6FC342B}" srcOrd="2" destOrd="0" parTransId="{C3596A84-0D01-4336-B005-CCCDE05155BA}" sibTransId="{4D3FA473-DE47-4098-B68B-8B05300EE69F}"/>
    <dgm:cxn modelId="{0BD38653-503D-4A2A-9A4B-7994138AA980}" srcId="{EA32AD00-B718-40DD-8CC7-C8529EA12899}" destId="{56DCA919-A76D-4556-905E-3980D2319160}" srcOrd="3" destOrd="0" parTransId="{22AE2F0F-D3C0-47E1-BBF2-57444397788B}" sibTransId="{11AC6F58-C257-4BC5-BC4E-87FD3375086A}"/>
    <dgm:cxn modelId="{0746908B-7852-4975-9F32-F73F66E3A9E0}" type="presOf" srcId="{56DCA919-A76D-4556-905E-3980D2319160}" destId="{3132BE58-A131-4104-9340-E7FB067B23A4}" srcOrd="0" destOrd="0" presId="urn:microsoft.com/office/officeart/2008/layout/VerticalCurvedList"/>
    <dgm:cxn modelId="{44645192-59CA-4F06-91B1-E7997BDACB99}" srcId="{EA32AD00-B718-40DD-8CC7-C8529EA12899}" destId="{E20D742E-A10A-4FD6-80E2-CC54A9995630}" srcOrd="4" destOrd="0" parTransId="{688BF812-C887-41DC-81E3-D66AAE861178}" sibTransId="{A45458BD-71F2-4ECA-AC17-BD5D1799BCB5}"/>
    <dgm:cxn modelId="{FB23EDBD-7204-4B2C-A8A8-710C801CC417}" type="presOf" srcId="{1C2BA867-0415-4374-8049-71D6D9754068}" destId="{DA039C72-1F37-4EC5-B607-EE0E01615A24}" srcOrd="0" destOrd="0" presId="urn:microsoft.com/office/officeart/2008/layout/VerticalCurvedList"/>
    <dgm:cxn modelId="{04FB0BCB-A68A-404D-B30B-D3E0416E87B0}" type="presOf" srcId="{7A7678C5-7BA6-4E5E-B9D8-24B8D29B3C63}" destId="{D9836740-8F32-4A6E-B9DA-20521CCB6C3B}" srcOrd="0" destOrd="0" presId="urn:microsoft.com/office/officeart/2008/layout/VerticalCurvedList"/>
    <dgm:cxn modelId="{7A364EEF-10E9-4217-9458-85D2D8F5757B}" srcId="{EA32AD00-B718-40DD-8CC7-C8529EA12899}" destId="{1C2BA867-0415-4374-8049-71D6D9754068}" srcOrd="1" destOrd="0" parTransId="{79950879-47C6-4FB0-A264-4BAE4AA41D3C}" sibTransId="{EF757BCE-BDB0-421E-8A8B-4F16C4C8B1A5}"/>
    <dgm:cxn modelId="{ABF8D8A3-4687-42F8-9E68-5C9C2BF96209}" type="presParOf" srcId="{6B825217-2E82-4E43-A8A5-C42747EF872F}" destId="{BD31C331-041D-4112-AECC-3B24E272516C}" srcOrd="0" destOrd="0" presId="urn:microsoft.com/office/officeart/2008/layout/VerticalCurvedList"/>
    <dgm:cxn modelId="{40E3E34E-0D70-4DE9-9CEB-62E2F978C51D}" type="presParOf" srcId="{BD31C331-041D-4112-AECC-3B24E272516C}" destId="{120E8A16-46E1-445A-82D0-01E718F02579}" srcOrd="0" destOrd="0" presId="urn:microsoft.com/office/officeart/2008/layout/VerticalCurvedList"/>
    <dgm:cxn modelId="{E229B2A3-1632-4CD7-ACA9-A0B99DFE49AD}" type="presParOf" srcId="{120E8A16-46E1-445A-82D0-01E718F02579}" destId="{64477026-7F7B-4CAD-8F3F-C9A30866239E}" srcOrd="0" destOrd="0" presId="urn:microsoft.com/office/officeart/2008/layout/VerticalCurvedList"/>
    <dgm:cxn modelId="{121651D3-3DFB-4CCE-AAE4-318C93E4F039}" type="presParOf" srcId="{120E8A16-46E1-445A-82D0-01E718F02579}" destId="{D9836740-8F32-4A6E-B9DA-20521CCB6C3B}" srcOrd="1" destOrd="0" presId="urn:microsoft.com/office/officeart/2008/layout/VerticalCurvedList"/>
    <dgm:cxn modelId="{05C65A80-26A3-464E-9CC6-9D594B6298F2}" type="presParOf" srcId="{120E8A16-46E1-445A-82D0-01E718F02579}" destId="{DFC24F6A-4920-4F1D-8C2E-039AA4DE5FBD}" srcOrd="2" destOrd="0" presId="urn:microsoft.com/office/officeart/2008/layout/VerticalCurvedList"/>
    <dgm:cxn modelId="{FAE0B410-3A32-4ADC-8EA9-33E31FF61871}" type="presParOf" srcId="{120E8A16-46E1-445A-82D0-01E718F02579}" destId="{214FFE55-8C51-4958-B94C-B032D07973F2}" srcOrd="3" destOrd="0" presId="urn:microsoft.com/office/officeart/2008/layout/VerticalCurvedList"/>
    <dgm:cxn modelId="{A1161F4F-1B2B-4804-8BC9-D56A08896561}" type="presParOf" srcId="{BD31C331-041D-4112-AECC-3B24E272516C}" destId="{F53966F7-68B4-4A42-84BD-08075DCE058D}" srcOrd="1" destOrd="0" presId="urn:microsoft.com/office/officeart/2008/layout/VerticalCurvedList"/>
    <dgm:cxn modelId="{80AE632A-77E4-4930-9EB4-321A5FE1D60E}" type="presParOf" srcId="{BD31C331-041D-4112-AECC-3B24E272516C}" destId="{FBBD8B03-9D4F-400D-8ED6-6D0AC4983602}" srcOrd="2" destOrd="0" presId="urn:microsoft.com/office/officeart/2008/layout/VerticalCurvedList"/>
    <dgm:cxn modelId="{B0FAF568-852F-43E5-9626-ECBFC1E8C970}" type="presParOf" srcId="{FBBD8B03-9D4F-400D-8ED6-6D0AC4983602}" destId="{CADAC400-3ED5-4051-94A5-A917C1F29AC4}" srcOrd="0" destOrd="0" presId="urn:microsoft.com/office/officeart/2008/layout/VerticalCurvedList"/>
    <dgm:cxn modelId="{D367DF96-52E8-4772-9EE7-EE4CE5E524E3}" type="presParOf" srcId="{BD31C331-041D-4112-AECC-3B24E272516C}" destId="{DA039C72-1F37-4EC5-B607-EE0E01615A24}" srcOrd="3" destOrd="0" presId="urn:microsoft.com/office/officeart/2008/layout/VerticalCurvedList"/>
    <dgm:cxn modelId="{48855C23-47F1-4194-8F32-703DFE335F53}" type="presParOf" srcId="{BD31C331-041D-4112-AECC-3B24E272516C}" destId="{F69A4868-0606-43BD-99AE-675591CD1D65}" srcOrd="4" destOrd="0" presId="urn:microsoft.com/office/officeart/2008/layout/VerticalCurvedList"/>
    <dgm:cxn modelId="{DEE24857-6400-4D53-B557-DF940C2DD2FF}" type="presParOf" srcId="{F69A4868-0606-43BD-99AE-675591CD1D65}" destId="{86F70CEE-893E-4578-8E74-FFC214FC1E3F}" srcOrd="0" destOrd="0" presId="urn:microsoft.com/office/officeart/2008/layout/VerticalCurvedList"/>
    <dgm:cxn modelId="{6B9A1A96-40DF-441A-9893-1E07B036D088}" type="presParOf" srcId="{BD31C331-041D-4112-AECC-3B24E272516C}" destId="{7159B85A-7720-4CDA-A97F-ADB6826898FA}" srcOrd="5" destOrd="0" presId="urn:microsoft.com/office/officeart/2008/layout/VerticalCurvedList"/>
    <dgm:cxn modelId="{1177A100-E193-4568-B7CF-EDA78DE83A9A}" type="presParOf" srcId="{BD31C331-041D-4112-AECC-3B24E272516C}" destId="{C9E3AE00-F63D-4BE9-A21A-4D4BF5154848}" srcOrd="6" destOrd="0" presId="urn:microsoft.com/office/officeart/2008/layout/VerticalCurvedList"/>
    <dgm:cxn modelId="{040186D7-2A7C-4DF8-9A32-A65AC45B2945}" type="presParOf" srcId="{C9E3AE00-F63D-4BE9-A21A-4D4BF5154848}" destId="{77EF768E-54AE-4211-A9D2-B8093C3E2B28}" srcOrd="0" destOrd="0" presId="urn:microsoft.com/office/officeart/2008/layout/VerticalCurvedList"/>
    <dgm:cxn modelId="{34735359-EE5B-420F-9EF7-7CA15BDF6020}" type="presParOf" srcId="{BD31C331-041D-4112-AECC-3B24E272516C}" destId="{3132BE58-A131-4104-9340-E7FB067B23A4}" srcOrd="7" destOrd="0" presId="urn:microsoft.com/office/officeart/2008/layout/VerticalCurvedList"/>
    <dgm:cxn modelId="{507E9B51-A450-4A49-AC17-EFCC50CC239F}" type="presParOf" srcId="{BD31C331-041D-4112-AECC-3B24E272516C}" destId="{3D2ED39F-794F-48F5-9C06-82F1C8148EEF}" srcOrd="8" destOrd="0" presId="urn:microsoft.com/office/officeart/2008/layout/VerticalCurvedList"/>
    <dgm:cxn modelId="{3C0F41E3-1165-4A76-AACB-67F73C82BE38}" type="presParOf" srcId="{3D2ED39F-794F-48F5-9C06-82F1C8148EEF}" destId="{6ACC40D6-AE3B-42F4-8B2B-7F14415D0320}" srcOrd="0" destOrd="0" presId="urn:microsoft.com/office/officeart/2008/layout/VerticalCurvedList"/>
    <dgm:cxn modelId="{E03FC98D-6931-49BF-8187-55E86CBDACC4}" type="presParOf" srcId="{BD31C331-041D-4112-AECC-3B24E272516C}" destId="{1B7B0232-A280-45CD-856E-18CE881358C0}" srcOrd="9" destOrd="0" presId="urn:microsoft.com/office/officeart/2008/layout/VerticalCurvedList"/>
    <dgm:cxn modelId="{073EBAFB-9E34-47FB-8F95-F3C71BFD55F1}" type="presParOf" srcId="{BD31C331-041D-4112-AECC-3B24E272516C}" destId="{5A8F206B-937D-4D39-962D-3536A3AA506E}" srcOrd="10" destOrd="0" presId="urn:microsoft.com/office/officeart/2008/layout/VerticalCurvedList"/>
    <dgm:cxn modelId="{99AD35DE-D080-4DC6-97B3-E00A4A4C4CF9}" type="presParOf" srcId="{5A8F206B-937D-4D39-962D-3536A3AA506E}" destId="{64D9C102-4F73-4889-AA2D-0C8FBCC7900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A32AD00-B718-40DD-8CC7-C8529EA1289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CN" altLang="en-US"/>
        </a:p>
      </dgm:t>
    </dgm:pt>
    <dgm:pt modelId="{B16E8A84-984D-4BCB-AB22-26713767352D}">
      <dgm:prSet phldrT="[文本]" custT="1"/>
      <dgm:spPr/>
      <dgm:t>
        <a:bodyPr/>
        <a:lstStyle/>
        <a:p>
          <a:r>
            <a:rPr lang="zh-CN" altLang="en-US" sz="2400" b="1" dirty="0"/>
            <a:t>一、信道编码简介</a:t>
          </a:r>
          <a:endParaRPr lang="zh-CN" altLang="en-US" sz="2400" b="1" dirty="0">
            <a:latin typeface="+mn-ea"/>
            <a:ea typeface="+mn-ea"/>
          </a:endParaRPr>
        </a:p>
      </dgm:t>
    </dgm:pt>
    <dgm:pt modelId="{65178C78-D7BA-4843-882E-EC40E0868149}" type="parTrans" cxnId="{5E1FBD26-C6B9-4B3E-AAFC-077F54A002B6}">
      <dgm:prSet/>
      <dgm:spPr/>
      <dgm:t>
        <a:bodyPr/>
        <a:lstStyle/>
        <a:p>
          <a:endParaRPr lang="zh-CN" altLang="en-US" b="1"/>
        </a:p>
      </dgm:t>
    </dgm:pt>
    <dgm:pt modelId="{7A7678C5-7BA6-4E5E-B9D8-24B8D29B3C63}" type="sibTrans" cxnId="{5E1FBD26-C6B9-4B3E-AAFC-077F54A002B6}">
      <dgm:prSet/>
      <dgm:spPr/>
      <dgm:t>
        <a:bodyPr/>
        <a:lstStyle/>
        <a:p>
          <a:endParaRPr lang="zh-CN" altLang="en-US" b="1"/>
        </a:p>
      </dgm:t>
    </dgm:pt>
    <dgm:pt modelId="{1C2BA867-0415-4374-8049-71D6D9754068}">
      <dgm:prSet phldrT="[文本]" custT="1"/>
      <dgm:spPr/>
      <dgm:t>
        <a:bodyPr/>
        <a:lstStyle/>
        <a:p>
          <a:r>
            <a:rPr lang="zh-CN" altLang="en-US" sz="2400" b="1" dirty="0"/>
            <a:t>二、极化码原理</a:t>
          </a:r>
        </a:p>
      </dgm:t>
    </dgm:pt>
    <dgm:pt modelId="{79950879-47C6-4FB0-A264-4BAE4AA41D3C}" type="parTrans" cxnId="{7A364EEF-10E9-4217-9458-85D2D8F5757B}">
      <dgm:prSet/>
      <dgm:spPr/>
      <dgm:t>
        <a:bodyPr/>
        <a:lstStyle/>
        <a:p>
          <a:endParaRPr lang="zh-CN" altLang="en-US" b="1"/>
        </a:p>
      </dgm:t>
    </dgm:pt>
    <dgm:pt modelId="{EF757BCE-BDB0-421E-8A8B-4F16C4C8B1A5}" type="sibTrans" cxnId="{7A364EEF-10E9-4217-9458-85D2D8F5757B}">
      <dgm:prSet/>
      <dgm:spPr/>
      <dgm:t>
        <a:bodyPr/>
        <a:lstStyle/>
        <a:p>
          <a:endParaRPr lang="zh-CN" altLang="en-US" b="1"/>
        </a:p>
      </dgm:t>
    </dgm:pt>
    <dgm:pt modelId="{E20D742E-A10A-4FD6-80E2-CC54A9995630}">
      <dgm:prSet phldrT="[文本]" custT="1"/>
      <dgm:spPr/>
      <dgm:t>
        <a:bodyPr/>
        <a:lstStyle/>
        <a:p>
          <a:r>
            <a:rPr lang="zh-CN" altLang="en-US" sz="2400" b="1" dirty="0"/>
            <a:t>五、总结</a:t>
          </a:r>
        </a:p>
      </dgm:t>
    </dgm:pt>
    <dgm:pt modelId="{688BF812-C887-41DC-81E3-D66AAE861178}" type="parTrans" cxnId="{44645192-59CA-4F06-91B1-E7997BDACB99}">
      <dgm:prSet/>
      <dgm:spPr/>
      <dgm:t>
        <a:bodyPr/>
        <a:lstStyle/>
        <a:p>
          <a:endParaRPr lang="zh-CN" altLang="en-US" b="1"/>
        </a:p>
      </dgm:t>
    </dgm:pt>
    <dgm:pt modelId="{A45458BD-71F2-4ECA-AC17-BD5D1799BCB5}" type="sibTrans" cxnId="{44645192-59CA-4F06-91B1-E7997BDACB99}">
      <dgm:prSet/>
      <dgm:spPr/>
      <dgm:t>
        <a:bodyPr/>
        <a:lstStyle/>
        <a:p>
          <a:endParaRPr lang="zh-CN" altLang="en-US" b="1"/>
        </a:p>
      </dgm:t>
    </dgm:pt>
    <dgm:pt modelId="{56DCA919-A76D-4556-905E-3980D2319160}">
      <dgm:prSet phldrT="[文本]" custT="1"/>
      <dgm:spPr/>
      <dgm:t>
        <a:bodyPr/>
        <a:lstStyle/>
        <a:p>
          <a:r>
            <a:rPr lang="zh-CN" altLang="en-US" sz="2400" b="1" dirty="0"/>
            <a:t>四、面向物理层安全的编码方案</a:t>
          </a:r>
        </a:p>
      </dgm:t>
    </dgm:pt>
    <dgm:pt modelId="{22AE2F0F-D3C0-47E1-BBF2-57444397788B}" type="parTrans" cxnId="{0BD38653-503D-4A2A-9A4B-7994138AA980}">
      <dgm:prSet/>
      <dgm:spPr/>
      <dgm:t>
        <a:bodyPr/>
        <a:lstStyle/>
        <a:p>
          <a:endParaRPr lang="zh-CN" altLang="en-US" b="1"/>
        </a:p>
      </dgm:t>
    </dgm:pt>
    <dgm:pt modelId="{11AC6F58-C257-4BC5-BC4E-87FD3375086A}" type="sibTrans" cxnId="{0BD38653-503D-4A2A-9A4B-7994138AA980}">
      <dgm:prSet/>
      <dgm:spPr/>
      <dgm:t>
        <a:bodyPr/>
        <a:lstStyle/>
        <a:p>
          <a:endParaRPr lang="zh-CN" altLang="en-US" b="1"/>
        </a:p>
      </dgm:t>
    </dgm:pt>
    <dgm:pt modelId="{87525CB7-485E-49C4-ACDD-CD84F6FC342B}">
      <dgm:prSet custT="1"/>
      <dgm:spPr>
        <a:solidFill>
          <a:srgbClr val="FF0000"/>
        </a:solidFill>
      </dgm:spPr>
      <dgm:t>
        <a:bodyPr/>
        <a:lstStyle/>
        <a:p>
          <a:r>
            <a:rPr lang="zh-CN" altLang="en-US" sz="2400" b="1" dirty="0"/>
            <a:t>三、窃听信道模型</a:t>
          </a:r>
        </a:p>
      </dgm:t>
    </dgm:pt>
    <dgm:pt modelId="{C3596A84-0D01-4336-B005-CCCDE05155BA}" type="parTrans" cxnId="{D30C605E-702F-4110-BB16-CBA74E5E82C7}">
      <dgm:prSet/>
      <dgm:spPr/>
      <dgm:t>
        <a:bodyPr/>
        <a:lstStyle/>
        <a:p>
          <a:endParaRPr lang="zh-CN" altLang="en-US" b="1"/>
        </a:p>
      </dgm:t>
    </dgm:pt>
    <dgm:pt modelId="{4D3FA473-DE47-4098-B68B-8B05300EE69F}" type="sibTrans" cxnId="{D30C605E-702F-4110-BB16-CBA74E5E82C7}">
      <dgm:prSet/>
      <dgm:spPr/>
      <dgm:t>
        <a:bodyPr/>
        <a:lstStyle/>
        <a:p>
          <a:endParaRPr lang="zh-CN" altLang="en-US" b="1"/>
        </a:p>
      </dgm:t>
    </dgm:pt>
    <dgm:pt modelId="{6B825217-2E82-4E43-A8A5-C42747EF872F}" type="pres">
      <dgm:prSet presAssocID="{EA32AD00-B718-40DD-8CC7-C8529EA12899}" presName="Name0" presStyleCnt="0">
        <dgm:presLayoutVars>
          <dgm:chMax val="7"/>
          <dgm:chPref val="7"/>
          <dgm:dir/>
        </dgm:presLayoutVars>
      </dgm:prSet>
      <dgm:spPr/>
    </dgm:pt>
    <dgm:pt modelId="{BD31C331-041D-4112-AECC-3B24E272516C}" type="pres">
      <dgm:prSet presAssocID="{EA32AD00-B718-40DD-8CC7-C8529EA12899}" presName="Name1" presStyleCnt="0"/>
      <dgm:spPr/>
    </dgm:pt>
    <dgm:pt modelId="{120E8A16-46E1-445A-82D0-01E718F02579}" type="pres">
      <dgm:prSet presAssocID="{EA32AD00-B718-40DD-8CC7-C8529EA12899}" presName="cycle" presStyleCnt="0"/>
      <dgm:spPr/>
    </dgm:pt>
    <dgm:pt modelId="{64477026-7F7B-4CAD-8F3F-C9A30866239E}" type="pres">
      <dgm:prSet presAssocID="{EA32AD00-B718-40DD-8CC7-C8529EA12899}" presName="srcNode" presStyleLbl="node1" presStyleIdx="0" presStyleCnt="5"/>
      <dgm:spPr/>
    </dgm:pt>
    <dgm:pt modelId="{D9836740-8F32-4A6E-B9DA-20521CCB6C3B}" type="pres">
      <dgm:prSet presAssocID="{EA32AD00-B718-40DD-8CC7-C8529EA12899}" presName="conn" presStyleLbl="parChTrans1D2" presStyleIdx="0" presStyleCnt="1"/>
      <dgm:spPr/>
    </dgm:pt>
    <dgm:pt modelId="{DFC24F6A-4920-4F1D-8C2E-039AA4DE5FBD}" type="pres">
      <dgm:prSet presAssocID="{EA32AD00-B718-40DD-8CC7-C8529EA12899}" presName="extraNode" presStyleLbl="node1" presStyleIdx="0" presStyleCnt="5"/>
      <dgm:spPr/>
    </dgm:pt>
    <dgm:pt modelId="{214FFE55-8C51-4958-B94C-B032D07973F2}" type="pres">
      <dgm:prSet presAssocID="{EA32AD00-B718-40DD-8CC7-C8529EA12899}" presName="dstNode" presStyleLbl="node1" presStyleIdx="0" presStyleCnt="5"/>
      <dgm:spPr/>
    </dgm:pt>
    <dgm:pt modelId="{F53966F7-68B4-4A42-84BD-08075DCE058D}" type="pres">
      <dgm:prSet presAssocID="{B16E8A84-984D-4BCB-AB22-26713767352D}" presName="text_1" presStyleLbl="node1" presStyleIdx="0" presStyleCnt="5">
        <dgm:presLayoutVars>
          <dgm:bulletEnabled val="1"/>
        </dgm:presLayoutVars>
      </dgm:prSet>
      <dgm:spPr/>
    </dgm:pt>
    <dgm:pt modelId="{FBBD8B03-9D4F-400D-8ED6-6D0AC4983602}" type="pres">
      <dgm:prSet presAssocID="{B16E8A84-984D-4BCB-AB22-26713767352D}" presName="accent_1" presStyleCnt="0"/>
      <dgm:spPr/>
    </dgm:pt>
    <dgm:pt modelId="{CADAC400-3ED5-4051-94A5-A917C1F29AC4}" type="pres">
      <dgm:prSet presAssocID="{B16E8A84-984D-4BCB-AB22-26713767352D}" presName="accentRepeatNode" presStyleLbl="solidFgAcc1" presStyleIdx="0" presStyleCnt="5"/>
      <dgm:spPr/>
    </dgm:pt>
    <dgm:pt modelId="{DA039C72-1F37-4EC5-B607-EE0E01615A24}" type="pres">
      <dgm:prSet presAssocID="{1C2BA867-0415-4374-8049-71D6D9754068}" presName="text_2" presStyleLbl="node1" presStyleIdx="1" presStyleCnt="5">
        <dgm:presLayoutVars>
          <dgm:bulletEnabled val="1"/>
        </dgm:presLayoutVars>
      </dgm:prSet>
      <dgm:spPr/>
    </dgm:pt>
    <dgm:pt modelId="{F69A4868-0606-43BD-99AE-675591CD1D65}" type="pres">
      <dgm:prSet presAssocID="{1C2BA867-0415-4374-8049-71D6D9754068}" presName="accent_2" presStyleCnt="0"/>
      <dgm:spPr/>
    </dgm:pt>
    <dgm:pt modelId="{86F70CEE-893E-4578-8E74-FFC214FC1E3F}" type="pres">
      <dgm:prSet presAssocID="{1C2BA867-0415-4374-8049-71D6D9754068}" presName="accentRepeatNode" presStyleLbl="solidFgAcc1" presStyleIdx="1" presStyleCnt="5"/>
      <dgm:spPr/>
    </dgm:pt>
    <dgm:pt modelId="{7159B85A-7720-4CDA-A97F-ADB6826898FA}" type="pres">
      <dgm:prSet presAssocID="{87525CB7-485E-49C4-ACDD-CD84F6FC342B}" presName="text_3" presStyleLbl="node1" presStyleIdx="2" presStyleCnt="5">
        <dgm:presLayoutVars>
          <dgm:bulletEnabled val="1"/>
        </dgm:presLayoutVars>
      </dgm:prSet>
      <dgm:spPr/>
    </dgm:pt>
    <dgm:pt modelId="{C9E3AE00-F63D-4BE9-A21A-4D4BF5154848}" type="pres">
      <dgm:prSet presAssocID="{87525CB7-485E-49C4-ACDD-CD84F6FC342B}" presName="accent_3" presStyleCnt="0"/>
      <dgm:spPr/>
    </dgm:pt>
    <dgm:pt modelId="{77EF768E-54AE-4211-A9D2-B8093C3E2B28}" type="pres">
      <dgm:prSet presAssocID="{87525CB7-485E-49C4-ACDD-CD84F6FC342B}" presName="accentRepeatNode" presStyleLbl="solidFgAcc1" presStyleIdx="2" presStyleCnt="5"/>
      <dgm:spPr/>
    </dgm:pt>
    <dgm:pt modelId="{3132BE58-A131-4104-9340-E7FB067B23A4}" type="pres">
      <dgm:prSet presAssocID="{56DCA919-A76D-4556-905E-3980D2319160}" presName="text_4" presStyleLbl="node1" presStyleIdx="3" presStyleCnt="5">
        <dgm:presLayoutVars>
          <dgm:bulletEnabled val="1"/>
        </dgm:presLayoutVars>
      </dgm:prSet>
      <dgm:spPr/>
    </dgm:pt>
    <dgm:pt modelId="{3D2ED39F-794F-48F5-9C06-82F1C8148EEF}" type="pres">
      <dgm:prSet presAssocID="{56DCA919-A76D-4556-905E-3980D2319160}" presName="accent_4" presStyleCnt="0"/>
      <dgm:spPr/>
    </dgm:pt>
    <dgm:pt modelId="{6ACC40D6-AE3B-42F4-8B2B-7F14415D0320}" type="pres">
      <dgm:prSet presAssocID="{56DCA919-A76D-4556-905E-3980D2319160}" presName="accentRepeatNode" presStyleLbl="solidFgAcc1" presStyleIdx="3" presStyleCnt="5"/>
      <dgm:spPr/>
    </dgm:pt>
    <dgm:pt modelId="{1B7B0232-A280-45CD-856E-18CE881358C0}" type="pres">
      <dgm:prSet presAssocID="{E20D742E-A10A-4FD6-80E2-CC54A9995630}" presName="text_5" presStyleLbl="node1" presStyleIdx="4" presStyleCnt="5">
        <dgm:presLayoutVars>
          <dgm:bulletEnabled val="1"/>
        </dgm:presLayoutVars>
      </dgm:prSet>
      <dgm:spPr/>
    </dgm:pt>
    <dgm:pt modelId="{5A8F206B-937D-4D39-962D-3536A3AA506E}" type="pres">
      <dgm:prSet presAssocID="{E20D742E-A10A-4FD6-80E2-CC54A9995630}" presName="accent_5" presStyleCnt="0"/>
      <dgm:spPr/>
    </dgm:pt>
    <dgm:pt modelId="{64D9C102-4F73-4889-AA2D-0C8FBCC7900E}" type="pres">
      <dgm:prSet presAssocID="{E20D742E-A10A-4FD6-80E2-CC54A9995630}" presName="accentRepeatNode" presStyleLbl="solidFgAcc1" presStyleIdx="4" presStyleCnt="5"/>
      <dgm:spPr/>
    </dgm:pt>
  </dgm:ptLst>
  <dgm:cxnLst>
    <dgm:cxn modelId="{A69B0E07-F815-41DC-A389-15CA1B9C423B}" type="presOf" srcId="{E20D742E-A10A-4FD6-80E2-CC54A9995630}" destId="{1B7B0232-A280-45CD-856E-18CE881358C0}" srcOrd="0" destOrd="0" presId="urn:microsoft.com/office/officeart/2008/layout/VerticalCurvedList"/>
    <dgm:cxn modelId="{8616DD13-22D4-4701-9BC8-5527B304EA26}" type="presOf" srcId="{7A7678C5-7BA6-4E5E-B9D8-24B8D29B3C63}" destId="{D9836740-8F32-4A6E-B9DA-20521CCB6C3B}" srcOrd="0" destOrd="0" presId="urn:microsoft.com/office/officeart/2008/layout/VerticalCurvedList"/>
    <dgm:cxn modelId="{5E1FBD26-C6B9-4B3E-AAFC-077F54A002B6}" srcId="{EA32AD00-B718-40DD-8CC7-C8529EA12899}" destId="{B16E8A84-984D-4BCB-AB22-26713767352D}" srcOrd="0" destOrd="0" parTransId="{65178C78-D7BA-4843-882E-EC40E0868149}" sibTransId="{7A7678C5-7BA6-4E5E-B9D8-24B8D29B3C63}"/>
    <dgm:cxn modelId="{D30C605E-702F-4110-BB16-CBA74E5E82C7}" srcId="{EA32AD00-B718-40DD-8CC7-C8529EA12899}" destId="{87525CB7-485E-49C4-ACDD-CD84F6FC342B}" srcOrd="2" destOrd="0" parTransId="{C3596A84-0D01-4336-B005-CCCDE05155BA}" sibTransId="{4D3FA473-DE47-4098-B68B-8B05300EE69F}"/>
    <dgm:cxn modelId="{8AD07C73-66F6-4E3A-9BB8-776807C6759A}" type="presOf" srcId="{B16E8A84-984D-4BCB-AB22-26713767352D}" destId="{F53966F7-68B4-4A42-84BD-08075DCE058D}" srcOrd="0" destOrd="0" presId="urn:microsoft.com/office/officeart/2008/layout/VerticalCurvedList"/>
    <dgm:cxn modelId="{0BD38653-503D-4A2A-9A4B-7994138AA980}" srcId="{EA32AD00-B718-40DD-8CC7-C8529EA12899}" destId="{56DCA919-A76D-4556-905E-3980D2319160}" srcOrd="3" destOrd="0" parTransId="{22AE2F0F-D3C0-47E1-BBF2-57444397788B}" sibTransId="{11AC6F58-C257-4BC5-BC4E-87FD3375086A}"/>
    <dgm:cxn modelId="{9B93B075-FC89-4206-B7A2-2656B7BDE58E}" type="presOf" srcId="{1C2BA867-0415-4374-8049-71D6D9754068}" destId="{DA039C72-1F37-4EC5-B607-EE0E01615A24}" srcOrd="0" destOrd="0" presId="urn:microsoft.com/office/officeart/2008/layout/VerticalCurvedList"/>
    <dgm:cxn modelId="{44645192-59CA-4F06-91B1-E7997BDACB99}" srcId="{EA32AD00-B718-40DD-8CC7-C8529EA12899}" destId="{E20D742E-A10A-4FD6-80E2-CC54A9995630}" srcOrd="4" destOrd="0" parTransId="{688BF812-C887-41DC-81E3-D66AAE861178}" sibTransId="{A45458BD-71F2-4ECA-AC17-BD5D1799BCB5}"/>
    <dgm:cxn modelId="{E2FB97A7-3205-4D22-A8B2-3621ADA40A7A}" type="presOf" srcId="{56DCA919-A76D-4556-905E-3980D2319160}" destId="{3132BE58-A131-4104-9340-E7FB067B23A4}" srcOrd="0" destOrd="0" presId="urn:microsoft.com/office/officeart/2008/layout/VerticalCurvedList"/>
    <dgm:cxn modelId="{275C6CC0-88F9-48DE-89FF-C2BD0DF176B2}" type="presOf" srcId="{EA32AD00-B718-40DD-8CC7-C8529EA12899}" destId="{6B825217-2E82-4E43-A8A5-C42747EF872F}" srcOrd="0" destOrd="0" presId="urn:microsoft.com/office/officeart/2008/layout/VerticalCurvedList"/>
    <dgm:cxn modelId="{4F0242D1-0AFB-4DAC-86C6-FD0EB28F7097}" type="presOf" srcId="{87525CB7-485E-49C4-ACDD-CD84F6FC342B}" destId="{7159B85A-7720-4CDA-A97F-ADB6826898FA}" srcOrd="0" destOrd="0" presId="urn:microsoft.com/office/officeart/2008/layout/VerticalCurvedList"/>
    <dgm:cxn modelId="{7A364EEF-10E9-4217-9458-85D2D8F5757B}" srcId="{EA32AD00-B718-40DD-8CC7-C8529EA12899}" destId="{1C2BA867-0415-4374-8049-71D6D9754068}" srcOrd="1" destOrd="0" parTransId="{79950879-47C6-4FB0-A264-4BAE4AA41D3C}" sibTransId="{EF757BCE-BDB0-421E-8A8B-4F16C4C8B1A5}"/>
    <dgm:cxn modelId="{719760A2-B9F8-4D05-BAC7-8F9C36FC77FB}" type="presParOf" srcId="{6B825217-2E82-4E43-A8A5-C42747EF872F}" destId="{BD31C331-041D-4112-AECC-3B24E272516C}" srcOrd="0" destOrd="0" presId="urn:microsoft.com/office/officeart/2008/layout/VerticalCurvedList"/>
    <dgm:cxn modelId="{7765012D-16B7-47F2-ADBC-3389B29421C9}" type="presParOf" srcId="{BD31C331-041D-4112-AECC-3B24E272516C}" destId="{120E8A16-46E1-445A-82D0-01E718F02579}" srcOrd="0" destOrd="0" presId="urn:microsoft.com/office/officeart/2008/layout/VerticalCurvedList"/>
    <dgm:cxn modelId="{DAE7BA6D-2DBC-45C3-BD8F-47833F7130D0}" type="presParOf" srcId="{120E8A16-46E1-445A-82D0-01E718F02579}" destId="{64477026-7F7B-4CAD-8F3F-C9A30866239E}" srcOrd="0" destOrd="0" presId="urn:microsoft.com/office/officeart/2008/layout/VerticalCurvedList"/>
    <dgm:cxn modelId="{95631884-6860-4423-B4EE-23933FD34E4E}" type="presParOf" srcId="{120E8A16-46E1-445A-82D0-01E718F02579}" destId="{D9836740-8F32-4A6E-B9DA-20521CCB6C3B}" srcOrd="1" destOrd="0" presId="urn:microsoft.com/office/officeart/2008/layout/VerticalCurvedList"/>
    <dgm:cxn modelId="{E1672A4B-8633-4447-AB13-A1EC211694F3}" type="presParOf" srcId="{120E8A16-46E1-445A-82D0-01E718F02579}" destId="{DFC24F6A-4920-4F1D-8C2E-039AA4DE5FBD}" srcOrd="2" destOrd="0" presId="urn:microsoft.com/office/officeart/2008/layout/VerticalCurvedList"/>
    <dgm:cxn modelId="{11E2382D-C0A5-426A-AF60-35AD58D080B8}" type="presParOf" srcId="{120E8A16-46E1-445A-82D0-01E718F02579}" destId="{214FFE55-8C51-4958-B94C-B032D07973F2}" srcOrd="3" destOrd="0" presId="urn:microsoft.com/office/officeart/2008/layout/VerticalCurvedList"/>
    <dgm:cxn modelId="{28E460B0-7483-4BB2-89A7-0B54ED7B18F0}" type="presParOf" srcId="{BD31C331-041D-4112-AECC-3B24E272516C}" destId="{F53966F7-68B4-4A42-84BD-08075DCE058D}" srcOrd="1" destOrd="0" presId="urn:microsoft.com/office/officeart/2008/layout/VerticalCurvedList"/>
    <dgm:cxn modelId="{6370710B-EE4C-4AEA-99B4-8D0008E0AE85}" type="presParOf" srcId="{BD31C331-041D-4112-AECC-3B24E272516C}" destId="{FBBD8B03-9D4F-400D-8ED6-6D0AC4983602}" srcOrd="2" destOrd="0" presId="urn:microsoft.com/office/officeart/2008/layout/VerticalCurvedList"/>
    <dgm:cxn modelId="{FBC13D41-192B-4C87-9438-5FED207ED819}" type="presParOf" srcId="{FBBD8B03-9D4F-400D-8ED6-6D0AC4983602}" destId="{CADAC400-3ED5-4051-94A5-A917C1F29AC4}" srcOrd="0" destOrd="0" presId="urn:microsoft.com/office/officeart/2008/layout/VerticalCurvedList"/>
    <dgm:cxn modelId="{03B5E452-8150-4B45-B029-315448C1261B}" type="presParOf" srcId="{BD31C331-041D-4112-AECC-3B24E272516C}" destId="{DA039C72-1F37-4EC5-B607-EE0E01615A24}" srcOrd="3" destOrd="0" presId="urn:microsoft.com/office/officeart/2008/layout/VerticalCurvedList"/>
    <dgm:cxn modelId="{60C80DD5-B4B8-4D44-9C77-7A7E18D41F56}" type="presParOf" srcId="{BD31C331-041D-4112-AECC-3B24E272516C}" destId="{F69A4868-0606-43BD-99AE-675591CD1D65}" srcOrd="4" destOrd="0" presId="urn:microsoft.com/office/officeart/2008/layout/VerticalCurvedList"/>
    <dgm:cxn modelId="{419B2D85-1281-4F71-A939-BAE86FC0DACE}" type="presParOf" srcId="{F69A4868-0606-43BD-99AE-675591CD1D65}" destId="{86F70CEE-893E-4578-8E74-FFC214FC1E3F}" srcOrd="0" destOrd="0" presId="urn:microsoft.com/office/officeart/2008/layout/VerticalCurvedList"/>
    <dgm:cxn modelId="{06BC705B-D40F-4B8C-A497-82CE3515770F}" type="presParOf" srcId="{BD31C331-041D-4112-AECC-3B24E272516C}" destId="{7159B85A-7720-4CDA-A97F-ADB6826898FA}" srcOrd="5" destOrd="0" presId="urn:microsoft.com/office/officeart/2008/layout/VerticalCurvedList"/>
    <dgm:cxn modelId="{40E1628F-D087-428B-B0FF-220589279B4B}" type="presParOf" srcId="{BD31C331-041D-4112-AECC-3B24E272516C}" destId="{C9E3AE00-F63D-4BE9-A21A-4D4BF5154848}" srcOrd="6" destOrd="0" presId="urn:microsoft.com/office/officeart/2008/layout/VerticalCurvedList"/>
    <dgm:cxn modelId="{B837BA37-0E2A-47D2-BC6D-9F8329374526}" type="presParOf" srcId="{C9E3AE00-F63D-4BE9-A21A-4D4BF5154848}" destId="{77EF768E-54AE-4211-A9D2-B8093C3E2B28}" srcOrd="0" destOrd="0" presId="urn:microsoft.com/office/officeart/2008/layout/VerticalCurvedList"/>
    <dgm:cxn modelId="{7EB2C6F3-0C78-4A04-A263-85C25E16D8BF}" type="presParOf" srcId="{BD31C331-041D-4112-AECC-3B24E272516C}" destId="{3132BE58-A131-4104-9340-E7FB067B23A4}" srcOrd="7" destOrd="0" presId="urn:microsoft.com/office/officeart/2008/layout/VerticalCurvedList"/>
    <dgm:cxn modelId="{1528985F-1DC5-4E77-A2F1-ED4E49BF4D6B}" type="presParOf" srcId="{BD31C331-041D-4112-AECC-3B24E272516C}" destId="{3D2ED39F-794F-48F5-9C06-82F1C8148EEF}" srcOrd="8" destOrd="0" presId="urn:microsoft.com/office/officeart/2008/layout/VerticalCurvedList"/>
    <dgm:cxn modelId="{BF620535-AAC2-4AC4-9507-F5D6E5FCC77C}" type="presParOf" srcId="{3D2ED39F-794F-48F5-9C06-82F1C8148EEF}" destId="{6ACC40D6-AE3B-42F4-8B2B-7F14415D0320}" srcOrd="0" destOrd="0" presId="urn:microsoft.com/office/officeart/2008/layout/VerticalCurvedList"/>
    <dgm:cxn modelId="{A4BCA9D0-33C0-4ED7-8541-FFD8A81ABFEC}" type="presParOf" srcId="{BD31C331-041D-4112-AECC-3B24E272516C}" destId="{1B7B0232-A280-45CD-856E-18CE881358C0}" srcOrd="9" destOrd="0" presId="urn:microsoft.com/office/officeart/2008/layout/VerticalCurvedList"/>
    <dgm:cxn modelId="{B7203CB8-0C9D-495F-B1D1-68C0598F4ECE}" type="presParOf" srcId="{BD31C331-041D-4112-AECC-3B24E272516C}" destId="{5A8F206B-937D-4D39-962D-3536A3AA506E}" srcOrd="10" destOrd="0" presId="urn:microsoft.com/office/officeart/2008/layout/VerticalCurvedList"/>
    <dgm:cxn modelId="{E81E7BF9-95EA-4EF8-B6B4-232F637DE970}" type="presParOf" srcId="{5A8F206B-937D-4D39-962D-3536A3AA506E}" destId="{64D9C102-4F73-4889-AA2D-0C8FBCC7900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A32AD00-B718-40DD-8CC7-C8529EA1289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CN" altLang="en-US"/>
        </a:p>
      </dgm:t>
    </dgm:pt>
    <dgm:pt modelId="{B16E8A84-984D-4BCB-AB22-26713767352D}">
      <dgm:prSet phldrT="[文本]" custT="1"/>
      <dgm:spPr/>
      <dgm:t>
        <a:bodyPr/>
        <a:lstStyle/>
        <a:p>
          <a:r>
            <a:rPr lang="zh-CN" altLang="en-US" sz="2400" b="1" dirty="0"/>
            <a:t>一、信道编码简介</a:t>
          </a:r>
          <a:endParaRPr lang="zh-CN" altLang="en-US" sz="2400" b="1" dirty="0">
            <a:latin typeface="+mn-ea"/>
            <a:ea typeface="+mn-ea"/>
          </a:endParaRPr>
        </a:p>
      </dgm:t>
    </dgm:pt>
    <dgm:pt modelId="{65178C78-D7BA-4843-882E-EC40E0868149}" type="parTrans" cxnId="{5E1FBD26-C6B9-4B3E-AAFC-077F54A002B6}">
      <dgm:prSet/>
      <dgm:spPr/>
      <dgm:t>
        <a:bodyPr/>
        <a:lstStyle/>
        <a:p>
          <a:endParaRPr lang="zh-CN" altLang="en-US" b="1"/>
        </a:p>
      </dgm:t>
    </dgm:pt>
    <dgm:pt modelId="{7A7678C5-7BA6-4E5E-B9D8-24B8D29B3C63}" type="sibTrans" cxnId="{5E1FBD26-C6B9-4B3E-AAFC-077F54A002B6}">
      <dgm:prSet/>
      <dgm:spPr/>
      <dgm:t>
        <a:bodyPr/>
        <a:lstStyle/>
        <a:p>
          <a:endParaRPr lang="zh-CN" altLang="en-US" b="1"/>
        </a:p>
      </dgm:t>
    </dgm:pt>
    <dgm:pt modelId="{1C2BA867-0415-4374-8049-71D6D9754068}">
      <dgm:prSet phldrT="[文本]" custT="1"/>
      <dgm:spPr/>
      <dgm:t>
        <a:bodyPr/>
        <a:lstStyle/>
        <a:p>
          <a:r>
            <a:rPr lang="zh-CN" altLang="en-US" sz="2400" b="1" dirty="0"/>
            <a:t>二、极化码原理</a:t>
          </a:r>
        </a:p>
      </dgm:t>
    </dgm:pt>
    <dgm:pt modelId="{79950879-47C6-4FB0-A264-4BAE4AA41D3C}" type="parTrans" cxnId="{7A364EEF-10E9-4217-9458-85D2D8F5757B}">
      <dgm:prSet/>
      <dgm:spPr/>
      <dgm:t>
        <a:bodyPr/>
        <a:lstStyle/>
        <a:p>
          <a:endParaRPr lang="zh-CN" altLang="en-US" b="1"/>
        </a:p>
      </dgm:t>
    </dgm:pt>
    <dgm:pt modelId="{EF757BCE-BDB0-421E-8A8B-4F16C4C8B1A5}" type="sibTrans" cxnId="{7A364EEF-10E9-4217-9458-85D2D8F5757B}">
      <dgm:prSet/>
      <dgm:spPr/>
      <dgm:t>
        <a:bodyPr/>
        <a:lstStyle/>
        <a:p>
          <a:endParaRPr lang="zh-CN" altLang="en-US" b="1"/>
        </a:p>
      </dgm:t>
    </dgm:pt>
    <dgm:pt modelId="{E20D742E-A10A-4FD6-80E2-CC54A9995630}">
      <dgm:prSet phldrT="[文本]" custT="1"/>
      <dgm:spPr/>
      <dgm:t>
        <a:bodyPr/>
        <a:lstStyle/>
        <a:p>
          <a:r>
            <a:rPr lang="zh-CN" altLang="en-US" sz="2400" b="1" dirty="0"/>
            <a:t>五、总结</a:t>
          </a:r>
        </a:p>
      </dgm:t>
    </dgm:pt>
    <dgm:pt modelId="{688BF812-C887-41DC-81E3-D66AAE861178}" type="parTrans" cxnId="{44645192-59CA-4F06-91B1-E7997BDACB99}">
      <dgm:prSet/>
      <dgm:spPr/>
      <dgm:t>
        <a:bodyPr/>
        <a:lstStyle/>
        <a:p>
          <a:endParaRPr lang="zh-CN" altLang="en-US" b="1"/>
        </a:p>
      </dgm:t>
    </dgm:pt>
    <dgm:pt modelId="{A45458BD-71F2-4ECA-AC17-BD5D1799BCB5}" type="sibTrans" cxnId="{44645192-59CA-4F06-91B1-E7997BDACB99}">
      <dgm:prSet/>
      <dgm:spPr/>
      <dgm:t>
        <a:bodyPr/>
        <a:lstStyle/>
        <a:p>
          <a:endParaRPr lang="zh-CN" altLang="en-US" b="1"/>
        </a:p>
      </dgm:t>
    </dgm:pt>
    <dgm:pt modelId="{56DCA919-A76D-4556-905E-3980D2319160}">
      <dgm:prSet phldrT="[文本]" custT="1"/>
      <dgm:spPr>
        <a:solidFill>
          <a:srgbClr val="FF0000"/>
        </a:solidFill>
      </dgm:spPr>
      <dgm:t>
        <a:bodyPr/>
        <a:lstStyle/>
        <a:p>
          <a:r>
            <a:rPr lang="zh-CN" altLang="en-US" sz="2400" b="1" dirty="0"/>
            <a:t>四、面向物理层安全的编码方案</a:t>
          </a:r>
        </a:p>
      </dgm:t>
    </dgm:pt>
    <dgm:pt modelId="{22AE2F0F-D3C0-47E1-BBF2-57444397788B}" type="parTrans" cxnId="{0BD38653-503D-4A2A-9A4B-7994138AA980}">
      <dgm:prSet/>
      <dgm:spPr/>
      <dgm:t>
        <a:bodyPr/>
        <a:lstStyle/>
        <a:p>
          <a:endParaRPr lang="zh-CN" altLang="en-US" b="1"/>
        </a:p>
      </dgm:t>
    </dgm:pt>
    <dgm:pt modelId="{11AC6F58-C257-4BC5-BC4E-87FD3375086A}" type="sibTrans" cxnId="{0BD38653-503D-4A2A-9A4B-7994138AA980}">
      <dgm:prSet/>
      <dgm:spPr/>
      <dgm:t>
        <a:bodyPr/>
        <a:lstStyle/>
        <a:p>
          <a:endParaRPr lang="zh-CN" altLang="en-US" b="1"/>
        </a:p>
      </dgm:t>
    </dgm:pt>
    <dgm:pt modelId="{87525CB7-485E-49C4-ACDD-CD84F6FC342B}">
      <dgm:prSet custT="1"/>
      <dgm:spPr/>
      <dgm:t>
        <a:bodyPr/>
        <a:lstStyle/>
        <a:p>
          <a:r>
            <a:rPr lang="zh-CN" altLang="en-US" sz="2400" b="1" dirty="0"/>
            <a:t>三、窃听信道模型</a:t>
          </a:r>
        </a:p>
      </dgm:t>
    </dgm:pt>
    <dgm:pt modelId="{C3596A84-0D01-4336-B005-CCCDE05155BA}" type="parTrans" cxnId="{D30C605E-702F-4110-BB16-CBA74E5E82C7}">
      <dgm:prSet/>
      <dgm:spPr/>
      <dgm:t>
        <a:bodyPr/>
        <a:lstStyle/>
        <a:p>
          <a:endParaRPr lang="zh-CN" altLang="en-US" b="1"/>
        </a:p>
      </dgm:t>
    </dgm:pt>
    <dgm:pt modelId="{4D3FA473-DE47-4098-B68B-8B05300EE69F}" type="sibTrans" cxnId="{D30C605E-702F-4110-BB16-CBA74E5E82C7}">
      <dgm:prSet/>
      <dgm:spPr/>
      <dgm:t>
        <a:bodyPr/>
        <a:lstStyle/>
        <a:p>
          <a:endParaRPr lang="zh-CN" altLang="en-US" b="1"/>
        </a:p>
      </dgm:t>
    </dgm:pt>
    <dgm:pt modelId="{6B825217-2E82-4E43-A8A5-C42747EF872F}" type="pres">
      <dgm:prSet presAssocID="{EA32AD00-B718-40DD-8CC7-C8529EA12899}" presName="Name0" presStyleCnt="0">
        <dgm:presLayoutVars>
          <dgm:chMax val="7"/>
          <dgm:chPref val="7"/>
          <dgm:dir/>
        </dgm:presLayoutVars>
      </dgm:prSet>
      <dgm:spPr/>
    </dgm:pt>
    <dgm:pt modelId="{BD31C331-041D-4112-AECC-3B24E272516C}" type="pres">
      <dgm:prSet presAssocID="{EA32AD00-B718-40DD-8CC7-C8529EA12899}" presName="Name1" presStyleCnt="0"/>
      <dgm:spPr/>
    </dgm:pt>
    <dgm:pt modelId="{120E8A16-46E1-445A-82D0-01E718F02579}" type="pres">
      <dgm:prSet presAssocID="{EA32AD00-B718-40DD-8CC7-C8529EA12899}" presName="cycle" presStyleCnt="0"/>
      <dgm:spPr/>
    </dgm:pt>
    <dgm:pt modelId="{64477026-7F7B-4CAD-8F3F-C9A30866239E}" type="pres">
      <dgm:prSet presAssocID="{EA32AD00-B718-40DD-8CC7-C8529EA12899}" presName="srcNode" presStyleLbl="node1" presStyleIdx="0" presStyleCnt="5"/>
      <dgm:spPr/>
    </dgm:pt>
    <dgm:pt modelId="{D9836740-8F32-4A6E-B9DA-20521CCB6C3B}" type="pres">
      <dgm:prSet presAssocID="{EA32AD00-B718-40DD-8CC7-C8529EA12899}" presName="conn" presStyleLbl="parChTrans1D2" presStyleIdx="0" presStyleCnt="1"/>
      <dgm:spPr/>
    </dgm:pt>
    <dgm:pt modelId="{DFC24F6A-4920-4F1D-8C2E-039AA4DE5FBD}" type="pres">
      <dgm:prSet presAssocID="{EA32AD00-B718-40DD-8CC7-C8529EA12899}" presName="extraNode" presStyleLbl="node1" presStyleIdx="0" presStyleCnt="5"/>
      <dgm:spPr/>
    </dgm:pt>
    <dgm:pt modelId="{214FFE55-8C51-4958-B94C-B032D07973F2}" type="pres">
      <dgm:prSet presAssocID="{EA32AD00-B718-40DD-8CC7-C8529EA12899}" presName="dstNode" presStyleLbl="node1" presStyleIdx="0" presStyleCnt="5"/>
      <dgm:spPr/>
    </dgm:pt>
    <dgm:pt modelId="{F53966F7-68B4-4A42-84BD-08075DCE058D}" type="pres">
      <dgm:prSet presAssocID="{B16E8A84-984D-4BCB-AB22-26713767352D}" presName="text_1" presStyleLbl="node1" presStyleIdx="0" presStyleCnt="5">
        <dgm:presLayoutVars>
          <dgm:bulletEnabled val="1"/>
        </dgm:presLayoutVars>
      </dgm:prSet>
      <dgm:spPr/>
    </dgm:pt>
    <dgm:pt modelId="{FBBD8B03-9D4F-400D-8ED6-6D0AC4983602}" type="pres">
      <dgm:prSet presAssocID="{B16E8A84-984D-4BCB-AB22-26713767352D}" presName="accent_1" presStyleCnt="0"/>
      <dgm:spPr/>
    </dgm:pt>
    <dgm:pt modelId="{CADAC400-3ED5-4051-94A5-A917C1F29AC4}" type="pres">
      <dgm:prSet presAssocID="{B16E8A84-984D-4BCB-AB22-26713767352D}" presName="accentRepeatNode" presStyleLbl="solidFgAcc1" presStyleIdx="0" presStyleCnt="5"/>
      <dgm:spPr/>
    </dgm:pt>
    <dgm:pt modelId="{DA039C72-1F37-4EC5-B607-EE0E01615A24}" type="pres">
      <dgm:prSet presAssocID="{1C2BA867-0415-4374-8049-71D6D9754068}" presName="text_2" presStyleLbl="node1" presStyleIdx="1" presStyleCnt="5">
        <dgm:presLayoutVars>
          <dgm:bulletEnabled val="1"/>
        </dgm:presLayoutVars>
      </dgm:prSet>
      <dgm:spPr/>
    </dgm:pt>
    <dgm:pt modelId="{F69A4868-0606-43BD-99AE-675591CD1D65}" type="pres">
      <dgm:prSet presAssocID="{1C2BA867-0415-4374-8049-71D6D9754068}" presName="accent_2" presStyleCnt="0"/>
      <dgm:spPr/>
    </dgm:pt>
    <dgm:pt modelId="{86F70CEE-893E-4578-8E74-FFC214FC1E3F}" type="pres">
      <dgm:prSet presAssocID="{1C2BA867-0415-4374-8049-71D6D9754068}" presName="accentRepeatNode" presStyleLbl="solidFgAcc1" presStyleIdx="1" presStyleCnt="5"/>
      <dgm:spPr/>
    </dgm:pt>
    <dgm:pt modelId="{7159B85A-7720-4CDA-A97F-ADB6826898FA}" type="pres">
      <dgm:prSet presAssocID="{87525CB7-485E-49C4-ACDD-CD84F6FC342B}" presName="text_3" presStyleLbl="node1" presStyleIdx="2" presStyleCnt="5">
        <dgm:presLayoutVars>
          <dgm:bulletEnabled val="1"/>
        </dgm:presLayoutVars>
      </dgm:prSet>
      <dgm:spPr/>
    </dgm:pt>
    <dgm:pt modelId="{C9E3AE00-F63D-4BE9-A21A-4D4BF5154848}" type="pres">
      <dgm:prSet presAssocID="{87525CB7-485E-49C4-ACDD-CD84F6FC342B}" presName="accent_3" presStyleCnt="0"/>
      <dgm:spPr/>
    </dgm:pt>
    <dgm:pt modelId="{77EF768E-54AE-4211-A9D2-B8093C3E2B28}" type="pres">
      <dgm:prSet presAssocID="{87525CB7-485E-49C4-ACDD-CD84F6FC342B}" presName="accentRepeatNode" presStyleLbl="solidFgAcc1" presStyleIdx="2" presStyleCnt="5"/>
      <dgm:spPr/>
    </dgm:pt>
    <dgm:pt modelId="{3132BE58-A131-4104-9340-E7FB067B23A4}" type="pres">
      <dgm:prSet presAssocID="{56DCA919-A76D-4556-905E-3980D2319160}" presName="text_4" presStyleLbl="node1" presStyleIdx="3" presStyleCnt="5">
        <dgm:presLayoutVars>
          <dgm:bulletEnabled val="1"/>
        </dgm:presLayoutVars>
      </dgm:prSet>
      <dgm:spPr/>
    </dgm:pt>
    <dgm:pt modelId="{3D2ED39F-794F-48F5-9C06-82F1C8148EEF}" type="pres">
      <dgm:prSet presAssocID="{56DCA919-A76D-4556-905E-3980D2319160}" presName="accent_4" presStyleCnt="0"/>
      <dgm:spPr/>
    </dgm:pt>
    <dgm:pt modelId="{6ACC40D6-AE3B-42F4-8B2B-7F14415D0320}" type="pres">
      <dgm:prSet presAssocID="{56DCA919-A76D-4556-905E-3980D2319160}" presName="accentRepeatNode" presStyleLbl="solidFgAcc1" presStyleIdx="3" presStyleCnt="5"/>
      <dgm:spPr/>
    </dgm:pt>
    <dgm:pt modelId="{1B7B0232-A280-45CD-856E-18CE881358C0}" type="pres">
      <dgm:prSet presAssocID="{E20D742E-A10A-4FD6-80E2-CC54A9995630}" presName="text_5" presStyleLbl="node1" presStyleIdx="4" presStyleCnt="5">
        <dgm:presLayoutVars>
          <dgm:bulletEnabled val="1"/>
        </dgm:presLayoutVars>
      </dgm:prSet>
      <dgm:spPr/>
    </dgm:pt>
    <dgm:pt modelId="{5A8F206B-937D-4D39-962D-3536A3AA506E}" type="pres">
      <dgm:prSet presAssocID="{E20D742E-A10A-4FD6-80E2-CC54A9995630}" presName="accent_5" presStyleCnt="0"/>
      <dgm:spPr/>
    </dgm:pt>
    <dgm:pt modelId="{64D9C102-4F73-4889-AA2D-0C8FBCC7900E}" type="pres">
      <dgm:prSet presAssocID="{E20D742E-A10A-4FD6-80E2-CC54A9995630}" presName="accentRepeatNode" presStyleLbl="solidFgAcc1" presStyleIdx="4" presStyleCnt="5"/>
      <dgm:spPr/>
    </dgm:pt>
  </dgm:ptLst>
  <dgm:cxnLst>
    <dgm:cxn modelId="{A69B0E07-F815-41DC-A389-15CA1B9C423B}" type="presOf" srcId="{E20D742E-A10A-4FD6-80E2-CC54A9995630}" destId="{1B7B0232-A280-45CD-856E-18CE881358C0}" srcOrd="0" destOrd="0" presId="urn:microsoft.com/office/officeart/2008/layout/VerticalCurvedList"/>
    <dgm:cxn modelId="{8616DD13-22D4-4701-9BC8-5527B304EA26}" type="presOf" srcId="{7A7678C5-7BA6-4E5E-B9D8-24B8D29B3C63}" destId="{D9836740-8F32-4A6E-B9DA-20521CCB6C3B}" srcOrd="0" destOrd="0" presId="urn:microsoft.com/office/officeart/2008/layout/VerticalCurvedList"/>
    <dgm:cxn modelId="{5E1FBD26-C6B9-4B3E-AAFC-077F54A002B6}" srcId="{EA32AD00-B718-40DD-8CC7-C8529EA12899}" destId="{B16E8A84-984D-4BCB-AB22-26713767352D}" srcOrd="0" destOrd="0" parTransId="{65178C78-D7BA-4843-882E-EC40E0868149}" sibTransId="{7A7678C5-7BA6-4E5E-B9D8-24B8D29B3C63}"/>
    <dgm:cxn modelId="{D30C605E-702F-4110-BB16-CBA74E5E82C7}" srcId="{EA32AD00-B718-40DD-8CC7-C8529EA12899}" destId="{87525CB7-485E-49C4-ACDD-CD84F6FC342B}" srcOrd="2" destOrd="0" parTransId="{C3596A84-0D01-4336-B005-CCCDE05155BA}" sibTransId="{4D3FA473-DE47-4098-B68B-8B05300EE69F}"/>
    <dgm:cxn modelId="{8AD07C73-66F6-4E3A-9BB8-776807C6759A}" type="presOf" srcId="{B16E8A84-984D-4BCB-AB22-26713767352D}" destId="{F53966F7-68B4-4A42-84BD-08075DCE058D}" srcOrd="0" destOrd="0" presId="urn:microsoft.com/office/officeart/2008/layout/VerticalCurvedList"/>
    <dgm:cxn modelId="{0BD38653-503D-4A2A-9A4B-7994138AA980}" srcId="{EA32AD00-B718-40DD-8CC7-C8529EA12899}" destId="{56DCA919-A76D-4556-905E-3980D2319160}" srcOrd="3" destOrd="0" parTransId="{22AE2F0F-D3C0-47E1-BBF2-57444397788B}" sibTransId="{11AC6F58-C257-4BC5-BC4E-87FD3375086A}"/>
    <dgm:cxn modelId="{9B93B075-FC89-4206-B7A2-2656B7BDE58E}" type="presOf" srcId="{1C2BA867-0415-4374-8049-71D6D9754068}" destId="{DA039C72-1F37-4EC5-B607-EE0E01615A24}" srcOrd="0" destOrd="0" presId="urn:microsoft.com/office/officeart/2008/layout/VerticalCurvedList"/>
    <dgm:cxn modelId="{44645192-59CA-4F06-91B1-E7997BDACB99}" srcId="{EA32AD00-B718-40DD-8CC7-C8529EA12899}" destId="{E20D742E-A10A-4FD6-80E2-CC54A9995630}" srcOrd="4" destOrd="0" parTransId="{688BF812-C887-41DC-81E3-D66AAE861178}" sibTransId="{A45458BD-71F2-4ECA-AC17-BD5D1799BCB5}"/>
    <dgm:cxn modelId="{E2FB97A7-3205-4D22-A8B2-3621ADA40A7A}" type="presOf" srcId="{56DCA919-A76D-4556-905E-3980D2319160}" destId="{3132BE58-A131-4104-9340-E7FB067B23A4}" srcOrd="0" destOrd="0" presId="urn:microsoft.com/office/officeart/2008/layout/VerticalCurvedList"/>
    <dgm:cxn modelId="{275C6CC0-88F9-48DE-89FF-C2BD0DF176B2}" type="presOf" srcId="{EA32AD00-B718-40DD-8CC7-C8529EA12899}" destId="{6B825217-2E82-4E43-A8A5-C42747EF872F}" srcOrd="0" destOrd="0" presId="urn:microsoft.com/office/officeart/2008/layout/VerticalCurvedList"/>
    <dgm:cxn modelId="{4F0242D1-0AFB-4DAC-86C6-FD0EB28F7097}" type="presOf" srcId="{87525CB7-485E-49C4-ACDD-CD84F6FC342B}" destId="{7159B85A-7720-4CDA-A97F-ADB6826898FA}" srcOrd="0" destOrd="0" presId="urn:microsoft.com/office/officeart/2008/layout/VerticalCurvedList"/>
    <dgm:cxn modelId="{7A364EEF-10E9-4217-9458-85D2D8F5757B}" srcId="{EA32AD00-B718-40DD-8CC7-C8529EA12899}" destId="{1C2BA867-0415-4374-8049-71D6D9754068}" srcOrd="1" destOrd="0" parTransId="{79950879-47C6-4FB0-A264-4BAE4AA41D3C}" sibTransId="{EF757BCE-BDB0-421E-8A8B-4F16C4C8B1A5}"/>
    <dgm:cxn modelId="{719760A2-B9F8-4D05-BAC7-8F9C36FC77FB}" type="presParOf" srcId="{6B825217-2E82-4E43-A8A5-C42747EF872F}" destId="{BD31C331-041D-4112-AECC-3B24E272516C}" srcOrd="0" destOrd="0" presId="urn:microsoft.com/office/officeart/2008/layout/VerticalCurvedList"/>
    <dgm:cxn modelId="{7765012D-16B7-47F2-ADBC-3389B29421C9}" type="presParOf" srcId="{BD31C331-041D-4112-AECC-3B24E272516C}" destId="{120E8A16-46E1-445A-82D0-01E718F02579}" srcOrd="0" destOrd="0" presId="urn:microsoft.com/office/officeart/2008/layout/VerticalCurvedList"/>
    <dgm:cxn modelId="{DAE7BA6D-2DBC-45C3-BD8F-47833F7130D0}" type="presParOf" srcId="{120E8A16-46E1-445A-82D0-01E718F02579}" destId="{64477026-7F7B-4CAD-8F3F-C9A30866239E}" srcOrd="0" destOrd="0" presId="urn:microsoft.com/office/officeart/2008/layout/VerticalCurvedList"/>
    <dgm:cxn modelId="{95631884-6860-4423-B4EE-23933FD34E4E}" type="presParOf" srcId="{120E8A16-46E1-445A-82D0-01E718F02579}" destId="{D9836740-8F32-4A6E-B9DA-20521CCB6C3B}" srcOrd="1" destOrd="0" presId="urn:microsoft.com/office/officeart/2008/layout/VerticalCurvedList"/>
    <dgm:cxn modelId="{E1672A4B-8633-4447-AB13-A1EC211694F3}" type="presParOf" srcId="{120E8A16-46E1-445A-82D0-01E718F02579}" destId="{DFC24F6A-4920-4F1D-8C2E-039AA4DE5FBD}" srcOrd="2" destOrd="0" presId="urn:microsoft.com/office/officeart/2008/layout/VerticalCurvedList"/>
    <dgm:cxn modelId="{11E2382D-C0A5-426A-AF60-35AD58D080B8}" type="presParOf" srcId="{120E8A16-46E1-445A-82D0-01E718F02579}" destId="{214FFE55-8C51-4958-B94C-B032D07973F2}" srcOrd="3" destOrd="0" presId="urn:microsoft.com/office/officeart/2008/layout/VerticalCurvedList"/>
    <dgm:cxn modelId="{28E460B0-7483-4BB2-89A7-0B54ED7B18F0}" type="presParOf" srcId="{BD31C331-041D-4112-AECC-3B24E272516C}" destId="{F53966F7-68B4-4A42-84BD-08075DCE058D}" srcOrd="1" destOrd="0" presId="urn:microsoft.com/office/officeart/2008/layout/VerticalCurvedList"/>
    <dgm:cxn modelId="{6370710B-EE4C-4AEA-99B4-8D0008E0AE85}" type="presParOf" srcId="{BD31C331-041D-4112-AECC-3B24E272516C}" destId="{FBBD8B03-9D4F-400D-8ED6-6D0AC4983602}" srcOrd="2" destOrd="0" presId="urn:microsoft.com/office/officeart/2008/layout/VerticalCurvedList"/>
    <dgm:cxn modelId="{FBC13D41-192B-4C87-9438-5FED207ED819}" type="presParOf" srcId="{FBBD8B03-9D4F-400D-8ED6-6D0AC4983602}" destId="{CADAC400-3ED5-4051-94A5-A917C1F29AC4}" srcOrd="0" destOrd="0" presId="urn:microsoft.com/office/officeart/2008/layout/VerticalCurvedList"/>
    <dgm:cxn modelId="{03B5E452-8150-4B45-B029-315448C1261B}" type="presParOf" srcId="{BD31C331-041D-4112-AECC-3B24E272516C}" destId="{DA039C72-1F37-4EC5-B607-EE0E01615A24}" srcOrd="3" destOrd="0" presId="urn:microsoft.com/office/officeart/2008/layout/VerticalCurvedList"/>
    <dgm:cxn modelId="{60C80DD5-B4B8-4D44-9C77-7A7E18D41F56}" type="presParOf" srcId="{BD31C331-041D-4112-AECC-3B24E272516C}" destId="{F69A4868-0606-43BD-99AE-675591CD1D65}" srcOrd="4" destOrd="0" presId="urn:microsoft.com/office/officeart/2008/layout/VerticalCurvedList"/>
    <dgm:cxn modelId="{419B2D85-1281-4F71-A939-BAE86FC0DACE}" type="presParOf" srcId="{F69A4868-0606-43BD-99AE-675591CD1D65}" destId="{86F70CEE-893E-4578-8E74-FFC214FC1E3F}" srcOrd="0" destOrd="0" presId="urn:microsoft.com/office/officeart/2008/layout/VerticalCurvedList"/>
    <dgm:cxn modelId="{06BC705B-D40F-4B8C-A497-82CE3515770F}" type="presParOf" srcId="{BD31C331-041D-4112-AECC-3B24E272516C}" destId="{7159B85A-7720-4CDA-A97F-ADB6826898FA}" srcOrd="5" destOrd="0" presId="urn:microsoft.com/office/officeart/2008/layout/VerticalCurvedList"/>
    <dgm:cxn modelId="{40E1628F-D087-428B-B0FF-220589279B4B}" type="presParOf" srcId="{BD31C331-041D-4112-AECC-3B24E272516C}" destId="{C9E3AE00-F63D-4BE9-A21A-4D4BF5154848}" srcOrd="6" destOrd="0" presId="urn:microsoft.com/office/officeart/2008/layout/VerticalCurvedList"/>
    <dgm:cxn modelId="{B837BA37-0E2A-47D2-BC6D-9F8329374526}" type="presParOf" srcId="{C9E3AE00-F63D-4BE9-A21A-4D4BF5154848}" destId="{77EF768E-54AE-4211-A9D2-B8093C3E2B28}" srcOrd="0" destOrd="0" presId="urn:microsoft.com/office/officeart/2008/layout/VerticalCurvedList"/>
    <dgm:cxn modelId="{7EB2C6F3-0C78-4A04-A263-85C25E16D8BF}" type="presParOf" srcId="{BD31C331-041D-4112-AECC-3B24E272516C}" destId="{3132BE58-A131-4104-9340-E7FB067B23A4}" srcOrd="7" destOrd="0" presId="urn:microsoft.com/office/officeart/2008/layout/VerticalCurvedList"/>
    <dgm:cxn modelId="{1528985F-1DC5-4E77-A2F1-ED4E49BF4D6B}" type="presParOf" srcId="{BD31C331-041D-4112-AECC-3B24E272516C}" destId="{3D2ED39F-794F-48F5-9C06-82F1C8148EEF}" srcOrd="8" destOrd="0" presId="urn:microsoft.com/office/officeart/2008/layout/VerticalCurvedList"/>
    <dgm:cxn modelId="{BF620535-AAC2-4AC4-9507-F5D6E5FCC77C}" type="presParOf" srcId="{3D2ED39F-794F-48F5-9C06-82F1C8148EEF}" destId="{6ACC40D6-AE3B-42F4-8B2B-7F14415D0320}" srcOrd="0" destOrd="0" presId="urn:microsoft.com/office/officeart/2008/layout/VerticalCurvedList"/>
    <dgm:cxn modelId="{A4BCA9D0-33C0-4ED7-8541-FFD8A81ABFEC}" type="presParOf" srcId="{BD31C331-041D-4112-AECC-3B24E272516C}" destId="{1B7B0232-A280-45CD-856E-18CE881358C0}" srcOrd="9" destOrd="0" presId="urn:microsoft.com/office/officeart/2008/layout/VerticalCurvedList"/>
    <dgm:cxn modelId="{B7203CB8-0C9D-495F-B1D1-68C0598F4ECE}" type="presParOf" srcId="{BD31C331-041D-4112-AECC-3B24E272516C}" destId="{5A8F206B-937D-4D39-962D-3536A3AA506E}" srcOrd="10" destOrd="0" presId="urn:microsoft.com/office/officeart/2008/layout/VerticalCurvedList"/>
    <dgm:cxn modelId="{E81E7BF9-95EA-4EF8-B6B4-232F637DE970}" type="presParOf" srcId="{5A8F206B-937D-4D39-962D-3536A3AA506E}" destId="{64D9C102-4F73-4889-AA2D-0C8FBCC7900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A32AD00-B718-40DD-8CC7-C8529EA1289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CN" altLang="en-US"/>
        </a:p>
      </dgm:t>
    </dgm:pt>
    <dgm:pt modelId="{B16E8A84-984D-4BCB-AB22-26713767352D}">
      <dgm:prSet phldrT="[文本]" custT="1"/>
      <dgm:spPr/>
      <dgm:t>
        <a:bodyPr/>
        <a:lstStyle/>
        <a:p>
          <a:r>
            <a:rPr lang="zh-CN" altLang="en-US" sz="2400" b="1" dirty="0"/>
            <a:t>一、信道编码简介</a:t>
          </a:r>
          <a:endParaRPr lang="zh-CN" altLang="en-US" sz="2400" b="1" dirty="0">
            <a:latin typeface="+mn-ea"/>
            <a:ea typeface="+mn-ea"/>
          </a:endParaRPr>
        </a:p>
      </dgm:t>
    </dgm:pt>
    <dgm:pt modelId="{65178C78-D7BA-4843-882E-EC40E0868149}" type="parTrans" cxnId="{5E1FBD26-C6B9-4B3E-AAFC-077F54A002B6}">
      <dgm:prSet/>
      <dgm:spPr/>
      <dgm:t>
        <a:bodyPr/>
        <a:lstStyle/>
        <a:p>
          <a:endParaRPr lang="zh-CN" altLang="en-US" b="1"/>
        </a:p>
      </dgm:t>
    </dgm:pt>
    <dgm:pt modelId="{7A7678C5-7BA6-4E5E-B9D8-24B8D29B3C63}" type="sibTrans" cxnId="{5E1FBD26-C6B9-4B3E-AAFC-077F54A002B6}">
      <dgm:prSet/>
      <dgm:spPr/>
      <dgm:t>
        <a:bodyPr/>
        <a:lstStyle/>
        <a:p>
          <a:endParaRPr lang="zh-CN" altLang="en-US" b="1"/>
        </a:p>
      </dgm:t>
    </dgm:pt>
    <dgm:pt modelId="{1C2BA867-0415-4374-8049-71D6D9754068}">
      <dgm:prSet phldrT="[文本]" custT="1"/>
      <dgm:spPr/>
      <dgm:t>
        <a:bodyPr/>
        <a:lstStyle/>
        <a:p>
          <a:r>
            <a:rPr lang="zh-CN" altLang="en-US" sz="2400" b="1" dirty="0"/>
            <a:t>二、极化码原理</a:t>
          </a:r>
        </a:p>
      </dgm:t>
    </dgm:pt>
    <dgm:pt modelId="{79950879-47C6-4FB0-A264-4BAE4AA41D3C}" type="parTrans" cxnId="{7A364EEF-10E9-4217-9458-85D2D8F5757B}">
      <dgm:prSet/>
      <dgm:spPr/>
      <dgm:t>
        <a:bodyPr/>
        <a:lstStyle/>
        <a:p>
          <a:endParaRPr lang="zh-CN" altLang="en-US" b="1"/>
        </a:p>
      </dgm:t>
    </dgm:pt>
    <dgm:pt modelId="{EF757BCE-BDB0-421E-8A8B-4F16C4C8B1A5}" type="sibTrans" cxnId="{7A364EEF-10E9-4217-9458-85D2D8F5757B}">
      <dgm:prSet/>
      <dgm:spPr/>
      <dgm:t>
        <a:bodyPr/>
        <a:lstStyle/>
        <a:p>
          <a:endParaRPr lang="zh-CN" altLang="en-US" b="1"/>
        </a:p>
      </dgm:t>
    </dgm:pt>
    <dgm:pt modelId="{E20D742E-A10A-4FD6-80E2-CC54A9995630}">
      <dgm:prSet phldrT="[文本]" custT="1"/>
      <dgm:spPr>
        <a:solidFill>
          <a:srgbClr val="FF0000"/>
        </a:solidFill>
      </dgm:spPr>
      <dgm:t>
        <a:bodyPr/>
        <a:lstStyle/>
        <a:p>
          <a:r>
            <a:rPr lang="zh-CN" altLang="en-US" sz="2400" b="1" dirty="0"/>
            <a:t>五、总结</a:t>
          </a:r>
        </a:p>
      </dgm:t>
    </dgm:pt>
    <dgm:pt modelId="{688BF812-C887-41DC-81E3-D66AAE861178}" type="parTrans" cxnId="{44645192-59CA-4F06-91B1-E7997BDACB99}">
      <dgm:prSet/>
      <dgm:spPr/>
      <dgm:t>
        <a:bodyPr/>
        <a:lstStyle/>
        <a:p>
          <a:endParaRPr lang="zh-CN" altLang="en-US" b="1"/>
        </a:p>
      </dgm:t>
    </dgm:pt>
    <dgm:pt modelId="{A45458BD-71F2-4ECA-AC17-BD5D1799BCB5}" type="sibTrans" cxnId="{44645192-59CA-4F06-91B1-E7997BDACB99}">
      <dgm:prSet/>
      <dgm:spPr/>
      <dgm:t>
        <a:bodyPr/>
        <a:lstStyle/>
        <a:p>
          <a:endParaRPr lang="zh-CN" altLang="en-US" b="1"/>
        </a:p>
      </dgm:t>
    </dgm:pt>
    <dgm:pt modelId="{56DCA919-A76D-4556-905E-3980D2319160}">
      <dgm:prSet phldrT="[文本]" custT="1"/>
      <dgm:spPr/>
      <dgm:t>
        <a:bodyPr/>
        <a:lstStyle/>
        <a:p>
          <a:r>
            <a:rPr lang="zh-CN" altLang="en-US" sz="2400" b="1" dirty="0"/>
            <a:t>四、面向物理层安全的编码方案</a:t>
          </a:r>
        </a:p>
      </dgm:t>
    </dgm:pt>
    <dgm:pt modelId="{22AE2F0F-D3C0-47E1-BBF2-57444397788B}" type="parTrans" cxnId="{0BD38653-503D-4A2A-9A4B-7994138AA980}">
      <dgm:prSet/>
      <dgm:spPr/>
      <dgm:t>
        <a:bodyPr/>
        <a:lstStyle/>
        <a:p>
          <a:endParaRPr lang="zh-CN" altLang="en-US" b="1"/>
        </a:p>
      </dgm:t>
    </dgm:pt>
    <dgm:pt modelId="{11AC6F58-C257-4BC5-BC4E-87FD3375086A}" type="sibTrans" cxnId="{0BD38653-503D-4A2A-9A4B-7994138AA980}">
      <dgm:prSet/>
      <dgm:spPr/>
      <dgm:t>
        <a:bodyPr/>
        <a:lstStyle/>
        <a:p>
          <a:endParaRPr lang="zh-CN" altLang="en-US" b="1"/>
        </a:p>
      </dgm:t>
    </dgm:pt>
    <dgm:pt modelId="{87525CB7-485E-49C4-ACDD-CD84F6FC342B}">
      <dgm:prSet custT="1"/>
      <dgm:spPr/>
      <dgm:t>
        <a:bodyPr/>
        <a:lstStyle/>
        <a:p>
          <a:r>
            <a:rPr lang="zh-CN" altLang="en-US" sz="2400" b="1" dirty="0"/>
            <a:t>三、窃听信道模型</a:t>
          </a:r>
        </a:p>
      </dgm:t>
    </dgm:pt>
    <dgm:pt modelId="{C3596A84-0D01-4336-B005-CCCDE05155BA}" type="parTrans" cxnId="{D30C605E-702F-4110-BB16-CBA74E5E82C7}">
      <dgm:prSet/>
      <dgm:spPr/>
      <dgm:t>
        <a:bodyPr/>
        <a:lstStyle/>
        <a:p>
          <a:endParaRPr lang="zh-CN" altLang="en-US" b="1"/>
        </a:p>
      </dgm:t>
    </dgm:pt>
    <dgm:pt modelId="{4D3FA473-DE47-4098-B68B-8B05300EE69F}" type="sibTrans" cxnId="{D30C605E-702F-4110-BB16-CBA74E5E82C7}">
      <dgm:prSet/>
      <dgm:spPr/>
      <dgm:t>
        <a:bodyPr/>
        <a:lstStyle/>
        <a:p>
          <a:endParaRPr lang="zh-CN" altLang="en-US" b="1"/>
        </a:p>
      </dgm:t>
    </dgm:pt>
    <dgm:pt modelId="{6B825217-2E82-4E43-A8A5-C42747EF872F}" type="pres">
      <dgm:prSet presAssocID="{EA32AD00-B718-40DD-8CC7-C8529EA12899}" presName="Name0" presStyleCnt="0">
        <dgm:presLayoutVars>
          <dgm:chMax val="7"/>
          <dgm:chPref val="7"/>
          <dgm:dir/>
        </dgm:presLayoutVars>
      </dgm:prSet>
      <dgm:spPr/>
    </dgm:pt>
    <dgm:pt modelId="{BD31C331-041D-4112-AECC-3B24E272516C}" type="pres">
      <dgm:prSet presAssocID="{EA32AD00-B718-40DD-8CC7-C8529EA12899}" presName="Name1" presStyleCnt="0"/>
      <dgm:spPr/>
    </dgm:pt>
    <dgm:pt modelId="{120E8A16-46E1-445A-82D0-01E718F02579}" type="pres">
      <dgm:prSet presAssocID="{EA32AD00-B718-40DD-8CC7-C8529EA12899}" presName="cycle" presStyleCnt="0"/>
      <dgm:spPr/>
    </dgm:pt>
    <dgm:pt modelId="{64477026-7F7B-4CAD-8F3F-C9A30866239E}" type="pres">
      <dgm:prSet presAssocID="{EA32AD00-B718-40DD-8CC7-C8529EA12899}" presName="srcNode" presStyleLbl="node1" presStyleIdx="0" presStyleCnt="5"/>
      <dgm:spPr/>
    </dgm:pt>
    <dgm:pt modelId="{D9836740-8F32-4A6E-B9DA-20521CCB6C3B}" type="pres">
      <dgm:prSet presAssocID="{EA32AD00-B718-40DD-8CC7-C8529EA12899}" presName="conn" presStyleLbl="parChTrans1D2" presStyleIdx="0" presStyleCnt="1"/>
      <dgm:spPr/>
    </dgm:pt>
    <dgm:pt modelId="{DFC24F6A-4920-4F1D-8C2E-039AA4DE5FBD}" type="pres">
      <dgm:prSet presAssocID="{EA32AD00-B718-40DD-8CC7-C8529EA12899}" presName="extraNode" presStyleLbl="node1" presStyleIdx="0" presStyleCnt="5"/>
      <dgm:spPr/>
    </dgm:pt>
    <dgm:pt modelId="{214FFE55-8C51-4958-B94C-B032D07973F2}" type="pres">
      <dgm:prSet presAssocID="{EA32AD00-B718-40DD-8CC7-C8529EA12899}" presName="dstNode" presStyleLbl="node1" presStyleIdx="0" presStyleCnt="5"/>
      <dgm:spPr/>
    </dgm:pt>
    <dgm:pt modelId="{F53966F7-68B4-4A42-84BD-08075DCE058D}" type="pres">
      <dgm:prSet presAssocID="{B16E8A84-984D-4BCB-AB22-26713767352D}" presName="text_1" presStyleLbl="node1" presStyleIdx="0" presStyleCnt="5">
        <dgm:presLayoutVars>
          <dgm:bulletEnabled val="1"/>
        </dgm:presLayoutVars>
      </dgm:prSet>
      <dgm:spPr/>
    </dgm:pt>
    <dgm:pt modelId="{FBBD8B03-9D4F-400D-8ED6-6D0AC4983602}" type="pres">
      <dgm:prSet presAssocID="{B16E8A84-984D-4BCB-AB22-26713767352D}" presName="accent_1" presStyleCnt="0"/>
      <dgm:spPr/>
    </dgm:pt>
    <dgm:pt modelId="{CADAC400-3ED5-4051-94A5-A917C1F29AC4}" type="pres">
      <dgm:prSet presAssocID="{B16E8A84-984D-4BCB-AB22-26713767352D}" presName="accentRepeatNode" presStyleLbl="solidFgAcc1" presStyleIdx="0" presStyleCnt="5"/>
      <dgm:spPr/>
    </dgm:pt>
    <dgm:pt modelId="{DA039C72-1F37-4EC5-B607-EE0E01615A24}" type="pres">
      <dgm:prSet presAssocID="{1C2BA867-0415-4374-8049-71D6D9754068}" presName="text_2" presStyleLbl="node1" presStyleIdx="1" presStyleCnt="5">
        <dgm:presLayoutVars>
          <dgm:bulletEnabled val="1"/>
        </dgm:presLayoutVars>
      </dgm:prSet>
      <dgm:spPr/>
    </dgm:pt>
    <dgm:pt modelId="{F69A4868-0606-43BD-99AE-675591CD1D65}" type="pres">
      <dgm:prSet presAssocID="{1C2BA867-0415-4374-8049-71D6D9754068}" presName="accent_2" presStyleCnt="0"/>
      <dgm:spPr/>
    </dgm:pt>
    <dgm:pt modelId="{86F70CEE-893E-4578-8E74-FFC214FC1E3F}" type="pres">
      <dgm:prSet presAssocID="{1C2BA867-0415-4374-8049-71D6D9754068}" presName="accentRepeatNode" presStyleLbl="solidFgAcc1" presStyleIdx="1" presStyleCnt="5"/>
      <dgm:spPr/>
    </dgm:pt>
    <dgm:pt modelId="{7159B85A-7720-4CDA-A97F-ADB6826898FA}" type="pres">
      <dgm:prSet presAssocID="{87525CB7-485E-49C4-ACDD-CD84F6FC342B}" presName="text_3" presStyleLbl="node1" presStyleIdx="2" presStyleCnt="5">
        <dgm:presLayoutVars>
          <dgm:bulletEnabled val="1"/>
        </dgm:presLayoutVars>
      </dgm:prSet>
      <dgm:spPr/>
    </dgm:pt>
    <dgm:pt modelId="{C9E3AE00-F63D-4BE9-A21A-4D4BF5154848}" type="pres">
      <dgm:prSet presAssocID="{87525CB7-485E-49C4-ACDD-CD84F6FC342B}" presName="accent_3" presStyleCnt="0"/>
      <dgm:spPr/>
    </dgm:pt>
    <dgm:pt modelId="{77EF768E-54AE-4211-A9D2-B8093C3E2B28}" type="pres">
      <dgm:prSet presAssocID="{87525CB7-485E-49C4-ACDD-CD84F6FC342B}" presName="accentRepeatNode" presStyleLbl="solidFgAcc1" presStyleIdx="2" presStyleCnt="5"/>
      <dgm:spPr/>
    </dgm:pt>
    <dgm:pt modelId="{3132BE58-A131-4104-9340-E7FB067B23A4}" type="pres">
      <dgm:prSet presAssocID="{56DCA919-A76D-4556-905E-3980D2319160}" presName="text_4" presStyleLbl="node1" presStyleIdx="3" presStyleCnt="5">
        <dgm:presLayoutVars>
          <dgm:bulletEnabled val="1"/>
        </dgm:presLayoutVars>
      </dgm:prSet>
      <dgm:spPr/>
    </dgm:pt>
    <dgm:pt modelId="{3D2ED39F-794F-48F5-9C06-82F1C8148EEF}" type="pres">
      <dgm:prSet presAssocID="{56DCA919-A76D-4556-905E-3980D2319160}" presName="accent_4" presStyleCnt="0"/>
      <dgm:spPr/>
    </dgm:pt>
    <dgm:pt modelId="{6ACC40D6-AE3B-42F4-8B2B-7F14415D0320}" type="pres">
      <dgm:prSet presAssocID="{56DCA919-A76D-4556-905E-3980D2319160}" presName="accentRepeatNode" presStyleLbl="solidFgAcc1" presStyleIdx="3" presStyleCnt="5"/>
      <dgm:spPr/>
    </dgm:pt>
    <dgm:pt modelId="{1B7B0232-A280-45CD-856E-18CE881358C0}" type="pres">
      <dgm:prSet presAssocID="{E20D742E-A10A-4FD6-80E2-CC54A9995630}" presName="text_5" presStyleLbl="node1" presStyleIdx="4" presStyleCnt="5">
        <dgm:presLayoutVars>
          <dgm:bulletEnabled val="1"/>
        </dgm:presLayoutVars>
      </dgm:prSet>
      <dgm:spPr/>
    </dgm:pt>
    <dgm:pt modelId="{5A8F206B-937D-4D39-962D-3536A3AA506E}" type="pres">
      <dgm:prSet presAssocID="{E20D742E-A10A-4FD6-80E2-CC54A9995630}" presName="accent_5" presStyleCnt="0"/>
      <dgm:spPr/>
    </dgm:pt>
    <dgm:pt modelId="{64D9C102-4F73-4889-AA2D-0C8FBCC7900E}" type="pres">
      <dgm:prSet presAssocID="{E20D742E-A10A-4FD6-80E2-CC54A9995630}" presName="accentRepeatNode" presStyleLbl="solidFgAcc1" presStyleIdx="4" presStyleCnt="5"/>
      <dgm:spPr/>
    </dgm:pt>
  </dgm:ptLst>
  <dgm:cxnLst>
    <dgm:cxn modelId="{A69B0E07-F815-41DC-A389-15CA1B9C423B}" type="presOf" srcId="{E20D742E-A10A-4FD6-80E2-CC54A9995630}" destId="{1B7B0232-A280-45CD-856E-18CE881358C0}" srcOrd="0" destOrd="0" presId="urn:microsoft.com/office/officeart/2008/layout/VerticalCurvedList"/>
    <dgm:cxn modelId="{8616DD13-22D4-4701-9BC8-5527B304EA26}" type="presOf" srcId="{7A7678C5-7BA6-4E5E-B9D8-24B8D29B3C63}" destId="{D9836740-8F32-4A6E-B9DA-20521CCB6C3B}" srcOrd="0" destOrd="0" presId="urn:microsoft.com/office/officeart/2008/layout/VerticalCurvedList"/>
    <dgm:cxn modelId="{5E1FBD26-C6B9-4B3E-AAFC-077F54A002B6}" srcId="{EA32AD00-B718-40DD-8CC7-C8529EA12899}" destId="{B16E8A84-984D-4BCB-AB22-26713767352D}" srcOrd="0" destOrd="0" parTransId="{65178C78-D7BA-4843-882E-EC40E0868149}" sibTransId="{7A7678C5-7BA6-4E5E-B9D8-24B8D29B3C63}"/>
    <dgm:cxn modelId="{D30C605E-702F-4110-BB16-CBA74E5E82C7}" srcId="{EA32AD00-B718-40DD-8CC7-C8529EA12899}" destId="{87525CB7-485E-49C4-ACDD-CD84F6FC342B}" srcOrd="2" destOrd="0" parTransId="{C3596A84-0D01-4336-B005-CCCDE05155BA}" sibTransId="{4D3FA473-DE47-4098-B68B-8B05300EE69F}"/>
    <dgm:cxn modelId="{8AD07C73-66F6-4E3A-9BB8-776807C6759A}" type="presOf" srcId="{B16E8A84-984D-4BCB-AB22-26713767352D}" destId="{F53966F7-68B4-4A42-84BD-08075DCE058D}" srcOrd="0" destOrd="0" presId="urn:microsoft.com/office/officeart/2008/layout/VerticalCurvedList"/>
    <dgm:cxn modelId="{0BD38653-503D-4A2A-9A4B-7994138AA980}" srcId="{EA32AD00-B718-40DD-8CC7-C8529EA12899}" destId="{56DCA919-A76D-4556-905E-3980D2319160}" srcOrd="3" destOrd="0" parTransId="{22AE2F0F-D3C0-47E1-BBF2-57444397788B}" sibTransId="{11AC6F58-C257-4BC5-BC4E-87FD3375086A}"/>
    <dgm:cxn modelId="{9B93B075-FC89-4206-B7A2-2656B7BDE58E}" type="presOf" srcId="{1C2BA867-0415-4374-8049-71D6D9754068}" destId="{DA039C72-1F37-4EC5-B607-EE0E01615A24}" srcOrd="0" destOrd="0" presId="urn:microsoft.com/office/officeart/2008/layout/VerticalCurvedList"/>
    <dgm:cxn modelId="{44645192-59CA-4F06-91B1-E7997BDACB99}" srcId="{EA32AD00-B718-40DD-8CC7-C8529EA12899}" destId="{E20D742E-A10A-4FD6-80E2-CC54A9995630}" srcOrd="4" destOrd="0" parTransId="{688BF812-C887-41DC-81E3-D66AAE861178}" sibTransId="{A45458BD-71F2-4ECA-AC17-BD5D1799BCB5}"/>
    <dgm:cxn modelId="{E2FB97A7-3205-4D22-A8B2-3621ADA40A7A}" type="presOf" srcId="{56DCA919-A76D-4556-905E-3980D2319160}" destId="{3132BE58-A131-4104-9340-E7FB067B23A4}" srcOrd="0" destOrd="0" presId="urn:microsoft.com/office/officeart/2008/layout/VerticalCurvedList"/>
    <dgm:cxn modelId="{275C6CC0-88F9-48DE-89FF-C2BD0DF176B2}" type="presOf" srcId="{EA32AD00-B718-40DD-8CC7-C8529EA12899}" destId="{6B825217-2E82-4E43-A8A5-C42747EF872F}" srcOrd="0" destOrd="0" presId="urn:microsoft.com/office/officeart/2008/layout/VerticalCurvedList"/>
    <dgm:cxn modelId="{4F0242D1-0AFB-4DAC-86C6-FD0EB28F7097}" type="presOf" srcId="{87525CB7-485E-49C4-ACDD-CD84F6FC342B}" destId="{7159B85A-7720-4CDA-A97F-ADB6826898FA}" srcOrd="0" destOrd="0" presId="urn:microsoft.com/office/officeart/2008/layout/VerticalCurvedList"/>
    <dgm:cxn modelId="{7A364EEF-10E9-4217-9458-85D2D8F5757B}" srcId="{EA32AD00-B718-40DD-8CC7-C8529EA12899}" destId="{1C2BA867-0415-4374-8049-71D6D9754068}" srcOrd="1" destOrd="0" parTransId="{79950879-47C6-4FB0-A264-4BAE4AA41D3C}" sibTransId="{EF757BCE-BDB0-421E-8A8B-4F16C4C8B1A5}"/>
    <dgm:cxn modelId="{719760A2-B9F8-4D05-BAC7-8F9C36FC77FB}" type="presParOf" srcId="{6B825217-2E82-4E43-A8A5-C42747EF872F}" destId="{BD31C331-041D-4112-AECC-3B24E272516C}" srcOrd="0" destOrd="0" presId="urn:microsoft.com/office/officeart/2008/layout/VerticalCurvedList"/>
    <dgm:cxn modelId="{7765012D-16B7-47F2-ADBC-3389B29421C9}" type="presParOf" srcId="{BD31C331-041D-4112-AECC-3B24E272516C}" destId="{120E8A16-46E1-445A-82D0-01E718F02579}" srcOrd="0" destOrd="0" presId="urn:microsoft.com/office/officeart/2008/layout/VerticalCurvedList"/>
    <dgm:cxn modelId="{DAE7BA6D-2DBC-45C3-BD8F-47833F7130D0}" type="presParOf" srcId="{120E8A16-46E1-445A-82D0-01E718F02579}" destId="{64477026-7F7B-4CAD-8F3F-C9A30866239E}" srcOrd="0" destOrd="0" presId="urn:microsoft.com/office/officeart/2008/layout/VerticalCurvedList"/>
    <dgm:cxn modelId="{95631884-6860-4423-B4EE-23933FD34E4E}" type="presParOf" srcId="{120E8A16-46E1-445A-82D0-01E718F02579}" destId="{D9836740-8F32-4A6E-B9DA-20521CCB6C3B}" srcOrd="1" destOrd="0" presId="urn:microsoft.com/office/officeart/2008/layout/VerticalCurvedList"/>
    <dgm:cxn modelId="{E1672A4B-8633-4447-AB13-A1EC211694F3}" type="presParOf" srcId="{120E8A16-46E1-445A-82D0-01E718F02579}" destId="{DFC24F6A-4920-4F1D-8C2E-039AA4DE5FBD}" srcOrd="2" destOrd="0" presId="urn:microsoft.com/office/officeart/2008/layout/VerticalCurvedList"/>
    <dgm:cxn modelId="{11E2382D-C0A5-426A-AF60-35AD58D080B8}" type="presParOf" srcId="{120E8A16-46E1-445A-82D0-01E718F02579}" destId="{214FFE55-8C51-4958-B94C-B032D07973F2}" srcOrd="3" destOrd="0" presId="urn:microsoft.com/office/officeart/2008/layout/VerticalCurvedList"/>
    <dgm:cxn modelId="{28E460B0-7483-4BB2-89A7-0B54ED7B18F0}" type="presParOf" srcId="{BD31C331-041D-4112-AECC-3B24E272516C}" destId="{F53966F7-68B4-4A42-84BD-08075DCE058D}" srcOrd="1" destOrd="0" presId="urn:microsoft.com/office/officeart/2008/layout/VerticalCurvedList"/>
    <dgm:cxn modelId="{6370710B-EE4C-4AEA-99B4-8D0008E0AE85}" type="presParOf" srcId="{BD31C331-041D-4112-AECC-3B24E272516C}" destId="{FBBD8B03-9D4F-400D-8ED6-6D0AC4983602}" srcOrd="2" destOrd="0" presId="urn:microsoft.com/office/officeart/2008/layout/VerticalCurvedList"/>
    <dgm:cxn modelId="{FBC13D41-192B-4C87-9438-5FED207ED819}" type="presParOf" srcId="{FBBD8B03-9D4F-400D-8ED6-6D0AC4983602}" destId="{CADAC400-3ED5-4051-94A5-A917C1F29AC4}" srcOrd="0" destOrd="0" presId="urn:microsoft.com/office/officeart/2008/layout/VerticalCurvedList"/>
    <dgm:cxn modelId="{03B5E452-8150-4B45-B029-315448C1261B}" type="presParOf" srcId="{BD31C331-041D-4112-AECC-3B24E272516C}" destId="{DA039C72-1F37-4EC5-B607-EE0E01615A24}" srcOrd="3" destOrd="0" presId="urn:microsoft.com/office/officeart/2008/layout/VerticalCurvedList"/>
    <dgm:cxn modelId="{60C80DD5-B4B8-4D44-9C77-7A7E18D41F56}" type="presParOf" srcId="{BD31C331-041D-4112-AECC-3B24E272516C}" destId="{F69A4868-0606-43BD-99AE-675591CD1D65}" srcOrd="4" destOrd="0" presId="urn:microsoft.com/office/officeart/2008/layout/VerticalCurvedList"/>
    <dgm:cxn modelId="{419B2D85-1281-4F71-A939-BAE86FC0DACE}" type="presParOf" srcId="{F69A4868-0606-43BD-99AE-675591CD1D65}" destId="{86F70CEE-893E-4578-8E74-FFC214FC1E3F}" srcOrd="0" destOrd="0" presId="urn:microsoft.com/office/officeart/2008/layout/VerticalCurvedList"/>
    <dgm:cxn modelId="{06BC705B-D40F-4B8C-A497-82CE3515770F}" type="presParOf" srcId="{BD31C331-041D-4112-AECC-3B24E272516C}" destId="{7159B85A-7720-4CDA-A97F-ADB6826898FA}" srcOrd="5" destOrd="0" presId="urn:microsoft.com/office/officeart/2008/layout/VerticalCurvedList"/>
    <dgm:cxn modelId="{40E1628F-D087-428B-B0FF-220589279B4B}" type="presParOf" srcId="{BD31C331-041D-4112-AECC-3B24E272516C}" destId="{C9E3AE00-F63D-4BE9-A21A-4D4BF5154848}" srcOrd="6" destOrd="0" presId="urn:microsoft.com/office/officeart/2008/layout/VerticalCurvedList"/>
    <dgm:cxn modelId="{B837BA37-0E2A-47D2-BC6D-9F8329374526}" type="presParOf" srcId="{C9E3AE00-F63D-4BE9-A21A-4D4BF5154848}" destId="{77EF768E-54AE-4211-A9D2-B8093C3E2B28}" srcOrd="0" destOrd="0" presId="urn:microsoft.com/office/officeart/2008/layout/VerticalCurvedList"/>
    <dgm:cxn modelId="{7EB2C6F3-0C78-4A04-A263-85C25E16D8BF}" type="presParOf" srcId="{BD31C331-041D-4112-AECC-3B24E272516C}" destId="{3132BE58-A131-4104-9340-E7FB067B23A4}" srcOrd="7" destOrd="0" presId="urn:microsoft.com/office/officeart/2008/layout/VerticalCurvedList"/>
    <dgm:cxn modelId="{1528985F-1DC5-4E77-A2F1-ED4E49BF4D6B}" type="presParOf" srcId="{BD31C331-041D-4112-AECC-3B24E272516C}" destId="{3D2ED39F-794F-48F5-9C06-82F1C8148EEF}" srcOrd="8" destOrd="0" presId="urn:microsoft.com/office/officeart/2008/layout/VerticalCurvedList"/>
    <dgm:cxn modelId="{BF620535-AAC2-4AC4-9507-F5D6E5FCC77C}" type="presParOf" srcId="{3D2ED39F-794F-48F5-9C06-82F1C8148EEF}" destId="{6ACC40D6-AE3B-42F4-8B2B-7F14415D0320}" srcOrd="0" destOrd="0" presId="urn:microsoft.com/office/officeart/2008/layout/VerticalCurvedList"/>
    <dgm:cxn modelId="{A4BCA9D0-33C0-4ED7-8541-FFD8A81ABFEC}" type="presParOf" srcId="{BD31C331-041D-4112-AECC-3B24E272516C}" destId="{1B7B0232-A280-45CD-856E-18CE881358C0}" srcOrd="9" destOrd="0" presId="urn:microsoft.com/office/officeart/2008/layout/VerticalCurvedList"/>
    <dgm:cxn modelId="{B7203CB8-0C9D-495F-B1D1-68C0598F4ECE}" type="presParOf" srcId="{BD31C331-041D-4112-AECC-3B24E272516C}" destId="{5A8F206B-937D-4D39-962D-3536A3AA506E}" srcOrd="10" destOrd="0" presId="urn:microsoft.com/office/officeart/2008/layout/VerticalCurvedList"/>
    <dgm:cxn modelId="{E81E7BF9-95EA-4EF8-B6B4-232F637DE970}" type="presParOf" srcId="{5A8F206B-937D-4D39-962D-3536A3AA506E}" destId="{64D9C102-4F73-4889-AA2D-0C8FBCC7900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36740-8F32-4A6E-B9DA-20521CCB6C3B}">
      <dsp:nvSpPr>
        <dsp:cNvPr id="0" name=""/>
        <dsp:cNvSpPr/>
      </dsp:nvSpPr>
      <dsp:spPr>
        <a:xfrm>
          <a:off x="-4594335" y="-704407"/>
          <a:ext cx="5472816" cy="5472816"/>
        </a:xfrm>
        <a:prstGeom prst="blockArc">
          <a:avLst>
            <a:gd name="adj1" fmla="val 18900000"/>
            <a:gd name="adj2" fmla="val 2700000"/>
            <a:gd name="adj3" fmla="val 39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966F7-68B4-4A42-84BD-08075DCE058D}">
      <dsp:nvSpPr>
        <dsp:cNvPr id="0" name=""/>
        <dsp:cNvSpPr/>
      </dsp:nvSpPr>
      <dsp:spPr>
        <a:xfrm>
          <a:off x="460128" y="312440"/>
          <a:ext cx="5174322" cy="62520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一、总体目标</a:t>
          </a:r>
        </a:p>
      </dsp:txBody>
      <dsp:txXfrm>
        <a:off x="460128" y="312440"/>
        <a:ext cx="5174322" cy="625205"/>
      </dsp:txXfrm>
    </dsp:sp>
    <dsp:sp modelId="{CADAC400-3ED5-4051-94A5-A917C1F29AC4}">
      <dsp:nvSpPr>
        <dsp:cNvPr id="0" name=""/>
        <dsp:cNvSpPr/>
      </dsp:nvSpPr>
      <dsp:spPr>
        <a:xfrm>
          <a:off x="69375" y="234289"/>
          <a:ext cx="781507" cy="78150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039C72-1F37-4EC5-B607-EE0E01615A24}">
      <dsp:nvSpPr>
        <dsp:cNvPr id="0" name=""/>
        <dsp:cNvSpPr/>
      </dsp:nvSpPr>
      <dsp:spPr>
        <a:xfrm>
          <a:off x="818573" y="1250411"/>
          <a:ext cx="4815878" cy="62520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二、研究进展</a:t>
          </a:r>
        </a:p>
      </dsp:txBody>
      <dsp:txXfrm>
        <a:off x="818573" y="1250411"/>
        <a:ext cx="4815878" cy="625205"/>
      </dsp:txXfrm>
    </dsp:sp>
    <dsp:sp modelId="{86F70CEE-893E-4578-8E74-FFC214FC1E3F}">
      <dsp:nvSpPr>
        <dsp:cNvPr id="0" name=""/>
        <dsp:cNvSpPr/>
      </dsp:nvSpPr>
      <dsp:spPr>
        <a:xfrm>
          <a:off x="427819" y="1172260"/>
          <a:ext cx="781507" cy="78150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59B85A-7720-4CDA-A97F-ADB6826898FA}">
      <dsp:nvSpPr>
        <dsp:cNvPr id="0" name=""/>
        <dsp:cNvSpPr/>
      </dsp:nvSpPr>
      <dsp:spPr>
        <a:xfrm>
          <a:off x="818573" y="2188382"/>
          <a:ext cx="4815878" cy="62520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三、研究难点</a:t>
          </a:r>
        </a:p>
      </dsp:txBody>
      <dsp:txXfrm>
        <a:off x="818573" y="2188382"/>
        <a:ext cx="4815878" cy="625205"/>
      </dsp:txXfrm>
    </dsp:sp>
    <dsp:sp modelId="{77EF768E-54AE-4211-A9D2-B8093C3E2B28}">
      <dsp:nvSpPr>
        <dsp:cNvPr id="0" name=""/>
        <dsp:cNvSpPr/>
      </dsp:nvSpPr>
      <dsp:spPr>
        <a:xfrm>
          <a:off x="427819" y="2110232"/>
          <a:ext cx="781507" cy="78150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32BE58-A131-4104-9340-E7FB067B23A4}">
      <dsp:nvSpPr>
        <dsp:cNvPr id="0" name=""/>
        <dsp:cNvSpPr/>
      </dsp:nvSpPr>
      <dsp:spPr>
        <a:xfrm>
          <a:off x="460128" y="3126353"/>
          <a:ext cx="5174322" cy="62520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四、核心问题</a:t>
          </a:r>
        </a:p>
      </dsp:txBody>
      <dsp:txXfrm>
        <a:off x="460128" y="3126353"/>
        <a:ext cx="5174322" cy="625205"/>
      </dsp:txXfrm>
    </dsp:sp>
    <dsp:sp modelId="{6ACC40D6-AE3B-42F4-8B2B-7F14415D0320}">
      <dsp:nvSpPr>
        <dsp:cNvPr id="0" name=""/>
        <dsp:cNvSpPr/>
      </dsp:nvSpPr>
      <dsp:spPr>
        <a:xfrm>
          <a:off x="69375" y="3048203"/>
          <a:ext cx="781507" cy="78150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36740-8F32-4A6E-B9DA-20521CCB6C3B}">
      <dsp:nvSpPr>
        <dsp:cNvPr id="0" name=""/>
        <dsp:cNvSpPr/>
      </dsp:nvSpPr>
      <dsp:spPr>
        <a:xfrm>
          <a:off x="-4594335" y="-704407"/>
          <a:ext cx="5472816" cy="5472816"/>
        </a:xfrm>
        <a:prstGeom prst="blockArc">
          <a:avLst>
            <a:gd name="adj1" fmla="val 18900000"/>
            <a:gd name="adj2" fmla="val 2700000"/>
            <a:gd name="adj3" fmla="val 39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966F7-68B4-4A42-84BD-08075DCE058D}">
      <dsp:nvSpPr>
        <dsp:cNvPr id="0" name=""/>
        <dsp:cNvSpPr/>
      </dsp:nvSpPr>
      <dsp:spPr>
        <a:xfrm>
          <a:off x="384538" y="253918"/>
          <a:ext cx="5249913"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一、总体目标</a:t>
          </a:r>
        </a:p>
      </dsp:txBody>
      <dsp:txXfrm>
        <a:off x="384538" y="253918"/>
        <a:ext cx="5249913" cy="508162"/>
      </dsp:txXfrm>
    </dsp:sp>
    <dsp:sp modelId="{CADAC400-3ED5-4051-94A5-A917C1F29AC4}">
      <dsp:nvSpPr>
        <dsp:cNvPr id="0" name=""/>
        <dsp:cNvSpPr/>
      </dsp:nvSpPr>
      <dsp:spPr>
        <a:xfrm>
          <a:off x="66936" y="190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039C72-1F37-4EC5-B607-EE0E01615A24}">
      <dsp:nvSpPr>
        <dsp:cNvPr id="0" name=""/>
        <dsp:cNvSpPr/>
      </dsp:nvSpPr>
      <dsp:spPr>
        <a:xfrm>
          <a:off x="748672" y="1015918"/>
          <a:ext cx="488577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二、研究进展</a:t>
          </a:r>
        </a:p>
      </dsp:txBody>
      <dsp:txXfrm>
        <a:off x="748672" y="1015918"/>
        <a:ext cx="4885778" cy="508162"/>
      </dsp:txXfrm>
    </dsp:sp>
    <dsp:sp modelId="{86F70CEE-893E-4578-8E74-FFC214FC1E3F}">
      <dsp:nvSpPr>
        <dsp:cNvPr id="0" name=""/>
        <dsp:cNvSpPr/>
      </dsp:nvSpPr>
      <dsp:spPr>
        <a:xfrm>
          <a:off x="431071" y="952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59B85A-7720-4CDA-A97F-ADB6826898FA}">
      <dsp:nvSpPr>
        <dsp:cNvPr id="0" name=""/>
        <dsp:cNvSpPr/>
      </dsp:nvSpPr>
      <dsp:spPr>
        <a:xfrm>
          <a:off x="860432" y="1777918"/>
          <a:ext cx="477401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三、研究难点</a:t>
          </a:r>
        </a:p>
      </dsp:txBody>
      <dsp:txXfrm>
        <a:off x="860432" y="1777918"/>
        <a:ext cx="4774018" cy="508162"/>
      </dsp:txXfrm>
    </dsp:sp>
    <dsp:sp modelId="{77EF768E-54AE-4211-A9D2-B8093C3E2B28}">
      <dsp:nvSpPr>
        <dsp:cNvPr id="0" name=""/>
        <dsp:cNvSpPr/>
      </dsp:nvSpPr>
      <dsp:spPr>
        <a:xfrm>
          <a:off x="542831" y="1714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32BE58-A131-4104-9340-E7FB067B23A4}">
      <dsp:nvSpPr>
        <dsp:cNvPr id="0" name=""/>
        <dsp:cNvSpPr/>
      </dsp:nvSpPr>
      <dsp:spPr>
        <a:xfrm>
          <a:off x="748672" y="2539918"/>
          <a:ext cx="488577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四、核心问题</a:t>
          </a:r>
        </a:p>
      </dsp:txBody>
      <dsp:txXfrm>
        <a:off x="748672" y="2539918"/>
        <a:ext cx="4885778" cy="508162"/>
      </dsp:txXfrm>
    </dsp:sp>
    <dsp:sp modelId="{6ACC40D6-AE3B-42F4-8B2B-7F14415D0320}">
      <dsp:nvSpPr>
        <dsp:cNvPr id="0" name=""/>
        <dsp:cNvSpPr/>
      </dsp:nvSpPr>
      <dsp:spPr>
        <a:xfrm>
          <a:off x="431071" y="2476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7B0232-A280-45CD-856E-18CE881358C0}">
      <dsp:nvSpPr>
        <dsp:cNvPr id="0" name=""/>
        <dsp:cNvSpPr/>
      </dsp:nvSpPr>
      <dsp:spPr>
        <a:xfrm>
          <a:off x="384538" y="3301918"/>
          <a:ext cx="5249913"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baseline="0" dirty="0">
              <a:latin typeface="+mj-lt"/>
              <a:ea typeface="+mj-ea"/>
            </a:rPr>
            <a:t>五、研究总结</a:t>
          </a:r>
        </a:p>
      </dsp:txBody>
      <dsp:txXfrm>
        <a:off x="384538" y="3301918"/>
        <a:ext cx="5249913" cy="508162"/>
      </dsp:txXfrm>
    </dsp:sp>
    <dsp:sp modelId="{64D9C102-4F73-4889-AA2D-0C8FBCC7900E}">
      <dsp:nvSpPr>
        <dsp:cNvPr id="0" name=""/>
        <dsp:cNvSpPr/>
      </dsp:nvSpPr>
      <dsp:spPr>
        <a:xfrm>
          <a:off x="66936" y="3238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36740-8F32-4A6E-B9DA-20521CCB6C3B}">
      <dsp:nvSpPr>
        <dsp:cNvPr id="0" name=""/>
        <dsp:cNvSpPr/>
      </dsp:nvSpPr>
      <dsp:spPr>
        <a:xfrm>
          <a:off x="-4594335" y="-704407"/>
          <a:ext cx="5472816" cy="5472816"/>
        </a:xfrm>
        <a:prstGeom prst="blockArc">
          <a:avLst>
            <a:gd name="adj1" fmla="val 18900000"/>
            <a:gd name="adj2" fmla="val 2700000"/>
            <a:gd name="adj3" fmla="val 39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966F7-68B4-4A42-84BD-08075DCE058D}">
      <dsp:nvSpPr>
        <dsp:cNvPr id="0" name=""/>
        <dsp:cNvSpPr/>
      </dsp:nvSpPr>
      <dsp:spPr>
        <a:xfrm>
          <a:off x="384538" y="253918"/>
          <a:ext cx="5249913" cy="508162"/>
        </a:xfrm>
        <a:prstGeom prst="rect">
          <a:avLst/>
        </a:prstGeom>
        <a:solidFill>
          <a:srgbClr val="00347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一、信道编码简介</a:t>
          </a:r>
          <a:endParaRPr lang="zh-CN" altLang="en-US" sz="2400" b="1" kern="1200" dirty="0">
            <a:latin typeface="+mn-ea"/>
            <a:ea typeface="+mn-ea"/>
          </a:endParaRPr>
        </a:p>
      </dsp:txBody>
      <dsp:txXfrm>
        <a:off x="384538" y="253918"/>
        <a:ext cx="5249913" cy="508162"/>
      </dsp:txXfrm>
    </dsp:sp>
    <dsp:sp modelId="{CADAC400-3ED5-4051-94A5-A917C1F29AC4}">
      <dsp:nvSpPr>
        <dsp:cNvPr id="0" name=""/>
        <dsp:cNvSpPr/>
      </dsp:nvSpPr>
      <dsp:spPr>
        <a:xfrm>
          <a:off x="66936" y="190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039C72-1F37-4EC5-B607-EE0E01615A24}">
      <dsp:nvSpPr>
        <dsp:cNvPr id="0" name=""/>
        <dsp:cNvSpPr/>
      </dsp:nvSpPr>
      <dsp:spPr>
        <a:xfrm>
          <a:off x="748672" y="1015918"/>
          <a:ext cx="4885778" cy="508162"/>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二、极化码原理</a:t>
          </a:r>
        </a:p>
      </dsp:txBody>
      <dsp:txXfrm>
        <a:off x="748672" y="1015918"/>
        <a:ext cx="4885778" cy="508162"/>
      </dsp:txXfrm>
    </dsp:sp>
    <dsp:sp modelId="{86F70CEE-893E-4578-8E74-FFC214FC1E3F}">
      <dsp:nvSpPr>
        <dsp:cNvPr id="0" name=""/>
        <dsp:cNvSpPr/>
      </dsp:nvSpPr>
      <dsp:spPr>
        <a:xfrm>
          <a:off x="431071" y="952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59B85A-7720-4CDA-A97F-ADB6826898FA}">
      <dsp:nvSpPr>
        <dsp:cNvPr id="0" name=""/>
        <dsp:cNvSpPr/>
      </dsp:nvSpPr>
      <dsp:spPr>
        <a:xfrm>
          <a:off x="860432" y="1777918"/>
          <a:ext cx="477401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三、窃听信道模型</a:t>
          </a:r>
        </a:p>
      </dsp:txBody>
      <dsp:txXfrm>
        <a:off x="860432" y="1777918"/>
        <a:ext cx="4774018" cy="508162"/>
      </dsp:txXfrm>
    </dsp:sp>
    <dsp:sp modelId="{77EF768E-54AE-4211-A9D2-B8093C3E2B28}">
      <dsp:nvSpPr>
        <dsp:cNvPr id="0" name=""/>
        <dsp:cNvSpPr/>
      </dsp:nvSpPr>
      <dsp:spPr>
        <a:xfrm>
          <a:off x="542831" y="1714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32BE58-A131-4104-9340-E7FB067B23A4}">
      <dsp:nvSpPr>
        <dsp:cNvPr id="0" name=""/>
        <dsp:cNvSpPr/>
      </dsp:nvSpPr>
      <dsp:spPr>
        <a:xfrm>
          <a:off x="748672" y="2539918"/>
          <a:ext cx="488577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四、面向物理层安全的编码方案</a:t>
          </a:r>
        </a:p>
      </dsp:txBody>
      <dsp:txXfrm>
        <a:off x="748672" y="2539918"/>
        <a:ext cx="4885778" cy="508162"/>
      </dsp:txXfrm>
    </dsp:sp>
    <dsp:sp modelId="{6ACC40D6-AE3B-42F4-8B2B-7F14415D0320}">
      <dsp:nvSpPr>
        <dsp:cNvPr id="0" name=""/>
        <dsp:cNvSpPr/>
      </dsp:nvSpPr>
      <dsp:spPr>
        <a:xfrm>
          <a:off x="431071" y="2476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7B0232-A280-45CD-856E-18CE881358C0}">
      <dsp:nvSpPr>
        <dsp:cNvPr id="0" name=""/>
        <dsp:cNvSpPr/>
      </dsp:nvSpPr>
      <dsp:spPr>
        <a:xfrm>
          <a:off x="384538" y="3301918"/>
          <a:ext cx="5249913"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五、总结</a:t>
          </a:r>
        </a:p>
      </dsp:txBody>
      <dsp:txXfrm>
        <a:off x="384538" y="3301918"/>
        <a:ext cx="5249913" cy="508162"/>
      </dsp:txXfrm>
    </dsp:sp>
    <dsp:sp modelId="{64D9C102-4F73-4889-AA2D-0C8FBCC7900E}">
      <dsp:nvSpPr>
        <dsp:cNvPr id="0" name=""/>
        <dsp:cNvSpPr/>
      </dsp:nvSpPr>
      <dsp:spPr>
        <a:xfrm>
          <a:off x="66936" y="3238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36740-8F32-4A6E-B9DA-20521CCB6C3B}">
      <dsp:nvSpPr>
        <dsp:cNvPr id="0" name=""/>
        <dsp:cNvSpPr/>
      </dsp:nvSpPr>
      <dsp:spPr>
        <a:xfrm>
          <a:off x="-4594335" y="-704407"/>
          <a:ext cx="5472816" cy="5472816"/>
        </a:xfrm>
        <a:prstGeom prst="blockArc">
          <a:avLst>
            <a:gd name="adj1" fmla="val 18900000"/>
            <a:gd name="adj2" fmla="val 2700000"/>
            <a:gd name="adj3" fmla="val 39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966F7-68B4-4A42-84BD-08075DCE058D}">
      <dsp:nvSpPr>
        <dsp:cNvPr id="0" name=""/>
        <dsp:cNvSpPr/>
      </dsp:nvSpPr>
      <dsp:spPr>
        <a:xfrm>
          <a:off x="384538" y="253918"/>
          <a:ext cx="5249913"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一、信道编码简介</a:t>
          </a:r>
          <a:endParaRPr lang="zh-CN" altLang="en-US" sz="2400" b="1" kern="1200" dirty="0">
            <a:latin typeface="+mn-ea"/>
            <a:ea typeface="+mn-ea"/>
          </a:endParaRPr>
        </a:p>
      </dsp:txBody>
      <dsp:txXfrm>
        <a:off x="384538" y="253918"/>
        <a:ext cx="5249913" cy="508162"/>
      </dsp:txXfrm>
    </dsp:sp>
    <dsp:sp modelId="{CADAC400-3ED5-4051-94A5-A917C1F29AC4}">
      <dsp:nvSpPr>
        <dsp:cNvPr id="0" name=""/>
        <dsp:cNvSpPr/>
      </dsp:nvSpPr>
      <dsp:spPr>
        <a:xfrm>
          <a:off x="66936" y="190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039C72-1F37-4EC5-B607-EE0E01615A24}">
      <dsp:nvSpPr>
        <dsp:cNvPr id="0" name=""/>
        <dsp:cNvSpPr/>
      </dsp:nvSpPr>
      <dsp:spPr>
        <a:xfrm>
          <a:off x="748672" y="1015918"/>
          <a:ext cx="488577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二、极化码原理</a:t>
          </a:r>
        </a:p>
      </dsp:txBody>
      <dsp:txXfrm>
        <a:off x="748672" y="1015918"/>
        <a:ext cx="4885778" cy="508162"/>
      </dsp:txXfrm>
    </dsp:sp>
    <dsp:sp modelId="{86F70CEE-893E-4578-8E74-FFC214FC1E3F}">
      <dsp:nvSpPr>
        <dsp:cNvPr id="0" name=""/>
        <dsp:cNvSpPr/>
      </dsp:nvSpPr>
      <dsp:spPr>
        <a:xfrm>
          <a:off x="431071" y="952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59B85A-7720-4CDA-A97F-ADB6826898FA}">
      <dsp:nvSpPr>
        <dsp:cNvPr id="0" name=""/>
        <dsp:cNvSpPr/>
      </dsp:nvSpPr>
      <dsp:spPr>
        <a:xfrm>
          <a:off x="860432" y="1777918"/>
          <a:ext cx="4774018" cy="508162"/>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三、窃听信道模型</a:t>
          </a:r>
        </a:p>
      </dsp:txBody>
      <dsp:txXfrm>
        <a:off x="860432" y="1777918"/>
        <a:ext cx="4774018" cy="508162"/>
      </dsp:txXfrm>
    </dsp:sp>
    <dsp:sp modelId="{77EF768E-54AE-4211-A9D2-B8093C3E2B28}">
      <dsp:nvSpPr>
        <dsp:cNvPr id="0" name=""/>
        <dsp:cNvSpPr/>
      </dsp:nvSpPr>
      <dsp:spPr>
        <a:xfrm>
          <a:off x="542831" y="1714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32BE58-A131-4104-9340-E7FB067B23A4}">
      <dsp:nvSpPr>
        <dsp:cNvPr id="0" name=""/>
        <dsp:cNvSpPr/>
      </dsp:nvSpPr>
      <dsp:spPr>
        <a:xfrm>
          <a:off x="748672" y="2539918"/>
          <a:ext cx="488577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四、面向物理层安全的编码方案</a:t>
          </a:r>
        </a:p>
      </dsp:txBody>
      <dsp:txXfrm>
        <a:off x="748672" y="2539918"/>
        <a:ext cx="4885778" cy="508162"/>
      </dsp:txXfrm>
    </dsp:sp>
    <dsp:sp modelId="{6ACC40D6-AE3B-42F4-8B2B-7F14415D0320}">
      <dsp:nvSpPr>
        <dsp:cNvPr id="0" name=""/>
        <dsp:cNvSpPr/>
      </dsp:nvSpPr>
      <dsp:spPr>
        <a:xfrm>
          <a:off x="431071" y="2476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7B0232-A280-45CD-856E-18CE881358C0}">
      <dsp:nvSpPr>
        <dsp:cNvPr id="0" name=""/>
        <dsp:cNvSpPr/>
      </dsp:nvSpPr>
      <dsp:spPr>
        <a:xfrm>
          <a:off x="384538" y="3301918"/>
          <a:ext cx="5249913"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五、总结</a:t>
          </a:r>
        </a:p>
      </dsp:txBody>
      <dsp:txXfrm>
        <a:off x="384538" y="3301918"/>
        <a:ext cx="5249913" cy="508162"/>
      </dsp:txXfrm>
    </dsp:sp>
    <dsp:sp modelId="{64D9C102-4F73-4889-AA2D-0C8FBCC7900E}">
      <dsp:nvSpPr>
        <dsp:cNvPr id="0" name=""/>
        <dsp:cNvSpPr/>
      </dsp:nvSpPr>
      <dsp:spPr>
        <a:xfrm>
          <a:off x="66936" y="3238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36740-8F32-4A6E-B9DA-20521CCB6C3B}">
      <dsp:nvSpPr>
        <dsp:cNvPr id="0" name=""/>
        <dsp:cNvSpPr/>
      </dsp:nvSpPr>
      <dsp:spPr>
        <a:xfrm>
          <a:off x="-4594335" y="-704407"/>
          <a:ext cx="5472816" cy="5472816"/>
        </a:xfrm>
        <a:prstGeom prst="blockArc">
          <a:avLst>
            <a:gd name="adj1" fmla="val 18900000"/>
            <a:gd name="adj2" fmla="val 2700000"/>
            <a:gd name="adj3" fmla="val 39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966F7-68B4-4A42-84BD-08075DCE058D}">
      <dsp:nvSpPr>
        <dsp:cNvPr id="0" name=""/>
        <dsp:cNvSpPr/>
      </dsp:nvSpPr>
      <dsp:spPr>
        <a:xfrm>
          <a:off x="384538" y="253918"/>
          <a:ext cx="5249913"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一、信道编码简介</a:t>
          </a:r>
          <a:endParaRPr lang="zh-CN" altLang="en-US" sz="2400" b="1" kern="1200" dirty="0">
            <a:latin typeface="+mn-ea"/>
            <a:ea typeface="+mn-ea"/>
          </a:endParaRPr>
        </a:p>
      </dsp:txBody>
      <dsp:txXfrm>
        <a:off x="384538" y="253918"/>
        <a:ext cx="5249913" cy="508162"/>
      </dsp:txXfrm>
    </dsp:sp>
    <dsp:sp modelId="{CADAC400-3ED5-4051-94A5-A917C1F29AC4}">
      <dsp:nvSpPr>
        <dsp:cNvPr id="0" name=""/>
        <dsp:cNvSpPr/>
      </dsp:nvSpPr>
      <dsp:spPr>
        <a:xfrm>
          <a:off x="66936" y="190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039C72-1F37-4EC5-B607-EE0E01615A24}">
      <dsp:nvSpPr>
        <dsp:cNvPr id="0" name=""/>
        <dsp:cNvSpPr/>
      </dsp:nvSpPr>
      <dsp:spPr>
        <a:xfrm>
          <a:off x="748672" y="1015918"/>
          <a:ext cx="488577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二、极化码原理</a:t>
          </a:r>
        </a:p>
      </dsp:txBody>
      <dsp:txXfrm>
        <a:off x="748672" y="1015918"/>
        <a:ext cx="4885778" cy="508162"/>
      </dsp:txXfrm>
    </dsp:sp>
    <dsp:sp modelId="{86F70CEE-893E-4578-8E74-FFC214FC1E3F}">
      <dsp:nvSpPr>
        <dsp:cNvPr id="0" name=""/>
        <dsp:cNvSpPr/>
      </dsp:nvSpPr>
      <dsp:spPr>
        <a:xfrm>
          <a:off x="431071" y="952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59B85A-7720-4CDA-A97F-ADB6826898FA}">
      <dsp:nvSpPr>
        <dsp:cNvPr id="0" name=""/>
        <dsp:cNvSpPr/>
      </dsp:nvSpPr>
      <dsp:spPr>
        <a:xfrm>
          <a:off x="860432" y="1777918"/>
          <a:ext cx="477401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三、窃听信道模型</a:t>
          </a:r>
        </a:p>
      </dsp:txBody>
      <dsp:txXfrm>
        <a:off x="860432" y="1777918"/>
        <a:ext cx="4774018" cy="508162"/>
      </dsp:txXfrm>
    </dsp:sp>
    <dsp:sp modelId="{77EF768E-54AE-4211-A9D2-B8093C3E2B28}">
      <dsp:nvSpPr>
        <dsp:cNvPr id="0" name=""/>
        <dsp:cNvSpPr/>
      </dsp:nvSpPr>
      <dsp:spPr>
        <a:xfrm>
          <a:off x="542831" y="1714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32BE58-A131-4104-9340-E7FB067B23A4}">
      <dsp:nvSpPr>
        <dsp:cNvPr id="0" name=""/>
        <dsp:cNvSpPr/>
      </dsp:nvSpPr>
      <dsp:spPr>
        <a:xfrm>
          <a:off x="748672" y="2539918"/>
          <a:ext cx="4885778" cy="508162"/>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四、面向物理层安全的编码方案</a:t>
          </a:r>
        </a:p>
      </dsp:txBody>
      <dsp:txXfrm>
        <a:off x="748672" y="2539918"/>
        <a:ext cx="4885778" cy="508162"/>
      </dsp:txXfrm>
    </dsp:sp>
    <dsp:sp modelId="{6ACC40D6-AE3B-42F4-8B2B-7F14415D0320}">
      <dsp:nvSpPr>
        <dsp:cNvPr id="0" name=""/>
        <dsp:cNvSpPr/>
      </dsp:nvSpPr>
      <dsp:spPr>
        <a:xfrm>
          <a:off x="431071" y="2476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7B0232-A280-45CD-856E-18CE881358C0}">
      <dsp:nvSpPr>
        <dsp:cNvPr id="0" name=""/>
        <dsp:cNvSpPr/>
      </dsp:nvSpPr>
      <dsp:spPr>
        <a:xfrm>
          <a:off x="384538" y="3301918"/>
          <a:ext cx="5249913"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五、总结</a:t>
          </a:r>
        </a:p>
      </dsp:txBody>
      <dsp:txXfrm>
        <a:off x="384538" y="3301918"/>
        <a:ext cx="5249913" cy="508162"/>
      </dsp:txXfrm>
    </dsp:sp>
    <dsp:sp modelId="{64D9C102-4F73-4889-AA2D-0C8FBCC7900E}">
      <dsp:nvSpPr>
        <dsp:cNvPr id="0" name=""/>
        <dsp:cNvSpPr/>
      </dsp:nvSpPr>
      <dsp:spPr>
        <a:xfrm>
          <a:off x="66936" y="3238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36740-8F32-4A6E-B9DA-20521CCB6C3B}">
      <dsp:nvSpPr>
        <dsp:cNvPr id="0" name=""/>
        <dsp:cNvSpPr/>
      </dsp:nvSpPr>
      <dsp:spPr>
        <a:xfrm>
          <a:off x="-4594335" y="-704407"/>
          <a:ext cx="5472816" cy="5472816"/>
        </a:xfrm>
        <a:prstGeom prst="blockArc">
          <a:avLst>
            <a:gd name="adj1" fmla="val 18900000"/>
            <a:gd name="adj2" fmla="val 2700000"/>
            <a:gd name="adj3" fmla="val 39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966F7-68B4-4A42-84BD-08075DCE058D}">
      <dsp:nvSpPr>
        <dsp:cNvPr id="0" name=""/>
        <dsp:cNvSpPr/>
      </dsp:nvSpPr>
      <dsp:spPr>
        <a:xfrm>
          <a:off x="384538" y="253918"/>
          <a:ext cx="5249913"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一、信道编码简介</a:t>
          </a:r>
          <a:endParaRPr lang="zh-CN" altLang="en-US" sz="2400" b="1" kern="1200" dirty="0">
            <a:latin typeface="+mn-ea"/>
            <a:ea typeface="+mn-ea"/>
          </a:endParaRPr>
        </a:p>
      </dsp:txBody>
      <dsp:txXfrm>
        <a:off x="384538" y="253918"/>
        <a:ext cx="5249913" cy="508162"/>
      </dsp:txXfrm>
    </dsp:sp>
    <dsp:sp modelId="{CADAC400-3ED5-4051-94A5-A917C1F29AC4}">
      <dsp:nvSpPr>
        <dsp:cNvPr id="0" name=""/>
        <dsp:cNvSpPr/>
      </dsp:nvSpPr>
      <dsp:spPr>
        <a:xfrm>
          <a:off x="66936" y="190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039C72-1F37-4EC5-B607-EE0E01615A24}">
      <dsp:nvSpPr>
        <dsp:cNvPr id="0" name=""/>
        <dsp:cNvSpPr/>
      </dsp:nvSpPr>
      <dsp:spPr>
        <a:xfrm>
          <a:off x="748672" y="1015918"/>
          <a:ext cx="488577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二、极化码原理</a:t>
          </a:r>
        </a:p>
      </dsp:txBody>
      <dsp:txXfrm>
        <a:off x="748672" y="1015918"/>
        <a:ext cx="4885778" cy="508162"/>
      </dsp:txXfrm>
    </dsp:sp>
    <dsp:sp modelId="{86F70CEE-893E-4578-8E74-FFC214FC1E3F}">
      <dsp:nvSpPr>
        <dsp:cNvPr id="0" name=""/>
        <dsp:cNvSpPr/>
      </dsp:nvSpPr>
      <dsp:spPr>
        <a:xfrm>
          <a:off x="431071" y="952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59B85A-7720-4CDA-A97F-ADB6826898FA}">
      <dsp:nvSpPr>
        <dsp:cNvPr id="0" name=""/>
        <dsp:cNvSpPr/>
      </dsp:nvSpPr>
      <dsp:spPr>
        <a:xfrm>
          <a:off x="860432" y="1777918"/>
          <a:ext cx="477401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三、窃听信道模型</a:t>
          </a:r>
        </a:p>
      </dsp:txBody>
      <dsp:txXfrm>
        <a:off x="860432" y="1777918"/>
        <a:ext cx="4774018" cy="508162"/>
      </dsp:txXfrm>
    </dsp:sp>
    <dsp:sp modelId="{77EF768E-54AE-4211-A9D2-B8093C3E2B28}">
      <dsp:nvSpPr>
        <dsp:cNvPr id="0" name=""/>
        <dsp:cNvSpPr/>
      </dsp:nvSpPr>
      <dsp:spPr>
        <a:xfrm>
          <a:off x="542831" y="1714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32BE58-A131-4104-9340-E7FB067B23A4}">
      <dsp:nvSpPr>
        <dsp:cNvPr id="0" name=""/>
        <dsp:cNvSpPr/>
      </dsp:nvSpPr>
      <dsp:spPr>
        <a:xfrm>
          <a:off x="748672" y="2539918"/>
          <a:ext cx="4885778" cy="5081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四、面向物理层安全的编码方案</a:t>
          </a:r>
        </a:p>
      </dsp:txBody>
      <dsp:txXfrm>
        <a:off x="748672" y="2539918"/>
        <a:ext cx="4885778" cy="508162"/>
      </dsp:txXfrm>
    </dsp:sp>
    <dsp:sp modelId="{6ACC40D6-AE3B-42F4-8B2B-7F14415D0320}">
      <dsp:nvSpPr>
        <dsp:cNvPr id="0" name=""/>
        <dsp:cNvSpPr/>
      </dsp:nvSpPr>
      <dsp:spPr>
        <a:xfrm>
          <a:off x="431071" y="2476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7B0232-A280-45CD-856E-18CE881358C0}">
      <dsp:nvSpPr>
        <dsp:cNvPr id="0" name=""/>
        <dsp:cNvSpPr/>
      </dsp:nvSpPr>
      <dsp:spPr>
        <a:xfrm>
          <a:off x="384538" y="3301918"/>
          <a:ext cx="5249913" cy="508162"/>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60960" rIns="60960" bIns="60960" numCol="1" spcCol="1270" anchor="ctr" anchorCtr="0">
          <a:noAutofit/>
        </a:bodyPr>
        <a:lstStyle/>
        <a:p>
          <a:pPr marL="0" lvl="0" indent="0" algn="l" defTabSz="1066800">
            <a:lnSpc>
              <a:spcPct val="90000"/>
            </a:lnSpc>
            <a:spcBef>
              <a:spcPct val="0"/>
            </a:spcBef>
            <a:spcAft>
              <a:spcPct val="35000"/>
            </a:spcAft>
            <a:buNone/>
          </a:pPr>
          <a:r>
            <a:rPr lang="zh-CN" altLang="en-US" sz="2400" b="1" kern="1200" dirty="0"/>
            <a:t>五、总结</a:t>
          </a:r>
        </a:p>
      </dsp:txBody>
      <dsp:txXfrm>
        <a:off x="384538" y="3301918"/>
        <a:ext cx="5249913" cy="508162"/>
      </dsp:txXfrm>
    </dsp:sp>
    <dsp:sp modelId="{64D9C102-4F73-4889-AA2D-0C8FBCC7900E}">
      <dsp:nvSpPr>
        <dsp:cNvPr id="0" name=""/>
        <dsp:cNvSpPr/>
      </dsp:nvSpPr>
      <dsp:spPr>
        <a:xfrm>
          <a:off x="66936" y="3238398"/>
          <a:ext cx="635203" cy="63520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5/27</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313885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50" b="0" dirty="0">
              <a:latin typeface="Bahnschrift SemiBold Condensed" panose="020B0502040204020203" pitchFamily="34" charset="0"/>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975594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20743510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Master" Target="../slideMasters/slideMaster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Layouts/_rels/slideLayout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Master" Target="../slideMasters/slideMaster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Master" Target="../slideMasters/slideMaster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Layouts/_rels/slideLayout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Master" Target="../slideMasters/slideMaster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10" name="矩形 9">
            <a:extLst>
              <a:ext uri="{FF2B5EF4-FFF2-40B4-BE49-F238E27FC236}">
                <a16:creationId xmlns:a16="http://schemas.microsoft.com/office/drawing/2014/main" id="{291E9481-E68D-4CC6-855D-4D884D481D67}"/>
              </a:ext>
            </a:extLst>
          </p:cNvPr>
          <p:cNvSpPr/>
          <p:nvPr userDrawn="1"/>
        </p:nvSpPr>
        <p:spPr>
          <a:xfrm>
            <a:off x="-33337" y="2213704"/>
            <a:ext cx="9144000" cy="201763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7" name="标题 1">
            <a:extLst>
              <a:ext uri="{FF2B5EF4-FFF2-40B4-BE49-F238E27FC236}">
                <a16:creationId xmlns:a16="http://schemas.microsoft.com/office/drawing/2014/main" id="{C8500E16-A9D8-483E-97E7-415EBC7F5C29}"/>
              </a:ext>
            </a:extLst>
          </p:cNvPr>
          <p:cNvSpPr>
            <a:spLocks noGrp="1"/>
          </p:cNvSpPr>
          <p:nvPr>
            <p:ph type="ctrTitle" hasCustomPrompt="1"/>
          </p:nvPr>
        </p:nvSpPr>
        <p:spPr>
          <a:xfrm>
            <a:off x="517218" y="2213704"/>
            <a:ext cx="8123545" cy="2017636"/>
          </a:xfrm>
          <a:prstGeom prst="rect">
            <a:avLst/>
          </a:prstGeom>
        </p:spPr>
        <p:txBody>
          <a:bodyPr anchor="ctr">
            <a:normAutofit/>
          </a:bodyPr>
          <a:lstStyle>
            <a:lvl1pPr algn="ctr">
              <a:defRPr sz="3600">
                <a:solidFill>
                  <a:schemeClr val="bg1"/>
                </a:solidFill>
              </a:defRPr>
            </a:lvl1pPr>
          </a:lstStyle>
          <a:p>
            <a:r>
              <a:rPr lang="zh-CN" altLang="en-US" dirty="0"/>
              <a:t>汇报标题</a:t>
            </a:r>
          </a:p>
        </p:txBody>
      </p:sp>
      <p:sp>
        <p:nvSpPr>
          <p:cNvPr id="6" name="Text Placeholder 2">
            <a:extLst>
              <a:ext uri="{FF2B5EF4-FFF2-40B4-BE49-F238E27FC236}">
                <a16:creationId xmlns:a16="http://schemas.microsoft.com/office/drawing/2014/main" id="{6AEEA871-82BD-4B04-A705-5D2A170C4890}"/>
              </a:ext>
            </a:extLst>
          </p:cNvPr>
          <p:cNvSpPr>
            <a:spLocks noGrp="1"/>
          </p:cNvSpPr>
          <p:nvPr>
            <p:ph type="body" sz="quarter" idx="10" hasCustomPrompt="1"/>
          </p:nvPr>
        </p:nvSpPr>
        <p:spPr>
          <a:xfrm>
            <a:off x="503236" y="4827453"/>
            <a:ext cx="8137527" cy="887927"/>
          </a:xfrm>
        </p:spPr>
        <p:txBody>
          <a:bodyPr>
            <a:noAutofit/>
          </a:bodyPr>
          <a:lstStyle>
            <a:lvl1pPr marL="0" indent="0" algn="ctr">
              <a:lnSpc>
                <a:spcPct val="150000"/>
              </a:lnSpc>
              <a:buNone/>
              <a:defRPr sz="1600" b="1" baseline="0">
                <a:latin typeface="+mj-lt"/>
                <a:ea typeface="+mj-ea"/>
              </a:defRPr>
            </a:lvl1pPr>
            <a:lvl2pPr>
              <a:defRPr sz="1600"/>
            </a:lvl2pPr>
            <a:lvl3pPr>
              <a:defRPr sz="1600"/>
            </a:lvl3pPr>
            <a:lvl4pPr>
              <a:defRPr sz="1200"/>
            </a:lvl4pPr>
            <a:lvl5pPr>
              <a:defRPr sz="1200"/>
            </a:lvl5pPr>
          </a:lstStyle>
          <a:p>
            <a:pPr lvl="0"/>
            <a:r>
              <a:rPr lang="zh-CN" altLang="en-US" dirty="0"/>
              <a:t>汇报人：</a:t>
            </a:r>
            <a:r>
              <a:rPr lang="en-US" altLang="zh-CN" dirty="0" err="1"/>
              <a:t>Xxx</a:t>
            </a:r>
            <a:endParaRPr lang="en-US" altLang="zh-CN" dirty="0"/>
          </a:p>
          <a:p>
            <a:pPr lvl="0"/>
            <a:r>
              <a:rPr lang="en-US" altLang="zh-CN" dirty="0" err="1"/>
              <a:t>Xxxxxx</a:t>
            </a:r>
            <a:r>
              <a:rPr lang="zh-CN" altLang="en-US" dirty="0"/>
              <a:t>小组</a:t>
            </a:r>
            <a:endParaRPr lang="en-US" dirty="0"/>
          </a:p>
        </p:txBody>
      </p:sp>
      <p:grpSp>
        <p:nvGrpSpPr>
          <p:cNvPr id="12" name="组合 11">
            <a:extLst>
              <a:ext uri="{FF2B5EF4-FFF2-40B4-BE49-F238E27FC236}">
                <a16:creationId xmlns:a16="http://schemas.microsoft.com/office/drawing/2014/main" id="{932F38AB-9093-4A22-BB56-9A69DC051C51}"/>
              </a:ext>
            </a:extLst>
          </p:cNvPr>
          <p:cNvGrpSpPr/>
          <p:nvPr userDrawn="1"/>
        </p:nvGrpSpPr>
        <p:grpSpPr>
          <a:xfrm>
            <a:off x="1829406" y="472049"/>
            <a:ext cx="5499168" cy="1341142"/>
            <a:chOff x="2172434" y="636580"/>
            <a:chExt cx="5499168" cy="1341142"/>
          </a:xfrm>
        </p:grpSpPr>
        <p:pic>
          <p:nvPicPr>
            <p:cNvPr id="3" name="图片 2">
              <a:extLst>
                <a:ext uri="{FF2B5EF4-FFF2-40B4-BE49-F238E27FC236}">
                  <a16:creationId xmlns:a16="http://schemas.microsoft.com/office/drawing/2014/main" id="{278506D1-AEF3-4106-83A6-03C43527E25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2434" y="636580"/>
              <a:ext cx="1765328" cy="1341142"/>
            </a:xfrm>
            <a:prstGeom prst="rect">
              <a:avLst/>
            </a:prstGeom>
          </p:spPr>
        </p:pic>
        <p:pic>
          <p:nvPicPr>
            <p:cNvPr id="5" name="图片 4">
              <a:extLst>
                <a:ext uri="{FF2B5EF4-FFF2-40B4-BE49-F238E27FC236}">
                  <a16:creationId xmlns:a16="http://schemas.microsoft.com/office/drawing/2014/main" id="{8703C70E-02F6-4354-8930-36A11CA9D2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37798" y="973770"/>
              <a:ext cx="3333804" cy="666761"/>
            </a:xfrm>
            <a:prstGeom prst="rect">
              <a:avLst/>
            </a:prstGeom>
          </p:spPr>
        </p:pic>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节标题">
    <p:spTree>
      <p:nvGrpSpPr>
        <p:cNvPr id="1" name=""/>
        <p:cNvGrpSpPr/>
        <p:nvPr/>
      </p:nvGrpSpPr>
      <p:grpSpPr>
        <a:xfrm>
          <a:off x="0" y="0"/>
          <a:ext cx="0" cy="0"/>
          <a:chOff x="0" y="0"/>
          <a:chExt cx="0" cy="0"/>
        </a:xfrm>
      </p:grpSpPr>
      <p:graphicFrame>
        <p:nvGraphicFramePr>
          <p:cNvPr id="29" name="图示 28">
            <a:extLst>
              <a:ext uri="{FF2B5EF4-FFF2-40B4-BE49-F238E27FC236}">
                <a16:creationId xmlns:a16="http://schemas.microsoft.com/office/drawing/2014/main" id="{7AD29D66-E8A6-45CF-B319-4E172F258C81}"/>
              </a:ext>
            </a:extLst>
          </p:cNvPr>
          <p:cNvGraphicFramePr/>
          <p:nvPr userDrawn="1">
            <p:extLst>
              <p:ext uri="{D42A27DB-BD31-4B8C-83A1-F6EECF244321}">
                <p14:modId xmlns:p14="http://schemas.microsoft.com/office/powerpoint/2010/main" val="166404635"/>
              </p:ext>
            </p:extLst>
          </p:nvPr>
        </p:nvGraphicFramePr>
        <p:xfrm>
          <a:off x="2547582" y="1397000"/>
          <a:ext cx="568963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文本框 29">
            <a:extLst>
              <a:ext uri="{FF2B5EF4-FFF2-40B4-BE49-F238E27FC236}">
                <a16:creationId xmlns:a16="http://schemas.microsoft.com/office/drawing/2014/main" id="{5C866340-4DDB-4128-BF50-414422B5559D}"/>
              </a:ext>
            </a:extLst>
          </p:cNvPr>
          <p:cNvSpPr txBox="1"/>
          <p:nvPr userDrawn="1"/>
        </p:nvSpPr>
        <p:spPr>
          <a:xfrm>
            <a:off x="1173707" y="3105834"/>
            <a:ext cx="1373875" cy="646331"/>
          </a:xfrm>
          <a:prstGeom prst="rect">
            <a:avLst/>
          </a:prstGeom>
          <a:noFill/>
        </p:spPr>
        <p:txBody>
          <a:bodyPr wrap="square" rtlCol="0">
            <a:spAutoFit/>
          </a:bodyPr>
          <a:lstStyle/>
          <a:p>
            <a:pPr algn="ctr"/>
            <a:r>
              <a:rPr lang="zh-CN" altLang="en-US" sz="3600" b="1" dirty="0">
                <a:solidFill>
                  <a:schemeClr val="accent1"/>
                </a:solidFill>
              </a:rPr>
              <a:t>目录</a:t>
            </a:r>
          </a:p>
        </p:txBody>
      </p:sp>
    </p:spTree>
    <p:extLst>
      <p:ext uri="{BB962C8B-B14F-4D97-AF65-F5344CB8AC3E}">
        <p14:creationId xmlns:p14="http://schemas.microsoft.com/office/powerpoint/2010/main" val="1529480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节标题">
    <p:spTree>
      <p:nvGrpSpPr>
        <p:cNvPr id="1" name=""/>
        <p:cNvGrpSpPr/>
        <p:nvPr/>
      </p:nvGrpSpPr>
      <p:grpSpPr>
        <a:xfrm>
          <a:off x="0" y="0"/>
          <a:ext cx="0" cy="0"/>
          <a:chOff x="0" y="0"/>
          <a:chExt cx="0" cy="0"/>
        </a:xfrm>
      </p:grpSpPr>
      <p:graphicFrame>
        <p:nvGraphicFramePr>
          <p:cNvPr id="29" name="图示 28">
            <a:extLst>
              <a:ext uri="{FF2B5EF4-FFF2-40B4-BE49-F238E27FC236}">
                <a16:creationId xmlns:a16="http://schemas.microsoft.com/office/drawing/2014/main" id="{7AD29D66-E8A6-45CF-B319-4E172F258C81}"/>
              </a:ext>
            </a:extLst>
          </p:cNvPr>
          <p:cNvGraphicFramePr/>
          <p:nvPr userDrawn="1">
            <p:extLst>
              <p:ext uri="{D42A27DB-BD31-4B8C-83A1-F6EECF244321}">
                <p14:modId xmlns:p14="http://schemas.microsoft.com/office/powerpoint/2010/main" val="2882097798"/>
              </p:ext>
            </p:extLst>
          </p:nvPr>
        </p:nvGraphicFramePr>
        <p:xfrm>
          <a:off x="2547582" y="1397000"/>
          <a:ext cx="568963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文本框 29">
            <a:extLst>
              <a:ext uri="{FF2B5EF4-FFF2-40B4-BE49-F238E27FC236}">
                <a16:creationId xmlns:a16="http://schemas.microsoft.com/office/drawing/2014/main" id="{5C866340-4DDB-4128-BF50-414422B5559D}"/>
              </a:ext>
            </a:extLst>
          </p:cNvPr>
          <p:cNvSpPr txBox="1"/>
          <p:nvPr userDrawn="1"/>
        </p:nvSpPr>
        <p:spPr>
          <a:xfrm>
            <a:off x="1173707" y="3105834"/>
            <a:ext cx="1373875" cy="646331"/>
          </a:xfrm>
          <a:prstGeom prst="rect">
            <a:avLst/>
          </a:prstGeom>
          <a:noFill/>
        </p:spPr>
        <p:txBody>
          <a:bodyPr wrap="square" rtlCol="0">
            <a:spAutoFit/>
          </a:bodyPr>
          <a:lstStyle/>
          <a:p>
            <a:pPr algn="ctr"/>
            <a:r>
              <a:rPr lang="zh-CN" altLang="en-US" sz="3600" b="1" dirty="0">
                <a:solidFill>
                  <a:schemeClr val="accent1"/>
                </a:solidFill>
              </a:rPr>
              <a:t>目录</a:t>
            </a:r>
          </a:p>
        </p:txBody>
      </p:sp>
    </p:spTree>
    <p:extLst>
      <p:ext uri="{BB962C8B-B14F-4D97-AF65-F5344CB8AC3E}">
        <p14:creationId xmlns:p14="http://schemas.microsoft.com/office/powerpoint/2010/main" val="1859444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标题幻灯片">
    <p:bg>
      <p:bgPr>
        <a:blipFill dpi="0" rotWithShape="1">
          <a:blip r:embed="rId2">
            <a:alphaModFix amt="8000"/>
            <a:lum/>
          </a:blip>
          <a:srcRect/>
          <a:stretch>
            <a:fillRect l="-10000" t="55000" r="55000" b="-18000"/>
          </a:stretch>
        </a:blipFill>
        <a:effectLst/>
      </p:bgPr>
    </p:bg>
    <p:spTree>
      <p:nvGrpSpPr>
        <p:cNvPr id="1" name=""/>
        <p:cNvGrpSpPr/>
        <p:nvPr/>
      </p:nvGrpSpPr>
      <p:grpSpPr>
        <a:xfrm>
          <a:off x="0" y="0"/>
          <a:ext cx="0" cy="0"/>
          <a:chOff x="0" y="0"/>
          <a:chExt cx="0" cy="0"/>
        </a:xfrm>
      </p:grpSpPr>
      <p:sp>
        <p:nvSpPr>
          <p:cNvPr id="10" name="矩形 9">
            <a:extLst>
              <a:ext uri="{FF2B5EF4-FFF2-40B4-BE49-F238E27FC236}">
                <a16:creationId xmlns:a16="http://schemas.microsoft.com/office/drawing/2014/main" id="{291E9481-E68D-4CC6-855D-4D884D481D67}"/>
              </a:ext>
            </a:extLst>
          </p:cNvPr>
          <p:cNvSpPr/>
          <p:nvPr userDrawn="1"/>
        </p:nvSpPr>
        <p:spPr>
          <a:xfrm>
            <a:off x="0" y="1878226"/>
            <a:ext cx="9144000" cy="169699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6" name="副标题 2">
            <a:extLst>
              <a:ext uri="{FF2B5EF4-FFF2-40B4-BE49-F238E27FC236}">
                <a16:creationId xmlns:a16="http://schemas.microsoft.com/office/drawing/2014/main" id="{F28D583D-A153-4275-81CA-9E5F2239E387}"/>
              </a:ext>
            </a:extLst>
          </p:cNvPr>
          <p:cNvSpPr>
            <a:spLocks noGrp="1"/>
          </p:cNvSpPr>
          <p:nvPr>
            <p:ph type="subTitle" idx="1"/>
          </p:nvPr>
        </p:nvSpPr>
        <p:spPr>
          <a:xfrm>
            <a:off x="517218" y="2645907"/>
            <a:ext cx="5891633" cy="558799"/>
          </a:xfrm>
          <a:prstGeom prst="rect">
            <a:avLst/>
          </a:prstGeom>
        </p:spPr>
        <p:txBody>
          <a:bodyPr anchor="ctr">
            <a:normAutofit/>
          </a:bodyPr>
          <a:lstStyle>
            <a:lvl1pPr marL="0" indent="0" algn="l">
              <a:buNone/>
              <a:defRPr sz="1500">
                <a:solidFill>
                  <a:schemeClr val="bg1"/>
                </a:solidFill>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
        <p:nvSpPr>
          <p:cNvPr id="17" name="标题 1">
            <a:extLst>
              <a:ext uri="{FF2B5EF4-FFF2-40B4-BE49-F238E27FC236}">
                <a16:creationId xmlns:a16="http://schemas.microsoft.com/office/drawing/2014/main" id="{C8500E16-A9D8-483E-97E7-415EBC7F5C29}"/>
              </a:ext>
            </a:extLst>
          </p:cNvPr>
          <p:cNvSpPr>
            <a:spLocks noGrp="1"/>
          </p:cNvSpPr>
          <p:nvPr>
            <p:ph type="ctrTitle"/>
          </p:nvPr>
        </p:nvSpPr>
        <p:spPr>
          <a:xfrm>
            <a:off x="517218" y="1947316"/>
            <a:ext cx="5891633" cy="698591"/>
          </a:xfrm>
          <a:prstGeom prst="rect">
            <a:avLst/>
          </a:prstGeom>
        </p:spPr>
        <p:txBody>
          <a:bodyPr anchor="ctr">
            <a:normAutofit/>
          </a:bodyPr>
          <a:lstStyle>
            <a:lvl1pPr algn="l">
              <a:defRPr sz="3000">
                <a:solidFill>
                  <a:schemeClr val="bg1"/>
                </a:solidFill>
              </a:defRPr>
            </a:lvl1pPr>
          </a:lstStyle>
          <a:p>
            <a:r>
              <a:rPr lang="en-US" dirty="0"/>
              <a:t>Click to edit Master title style</a:t>
            </a:r>
            <a:endParaRPr lang="zh-CN" altLang="en-US" dirty="0"/>
          </a:p>
        </p:txBody>
      </p:sp>
      <p:sp>
        <p:nvSpPr>
          <p:cNvPr id="18" name="文本占位符 13">
            <a:extLst>
              <a:ext uri="{FF2B5EF4-FFF2-40B4-BE49-F238E27FC236}">
                <a16:creationId xmlns:a16="http://schemas.microsoft.com/office/drawing/2014/main" id="{EA51A82B-9842-4FE5-8774-05803761AB75}"/>
              </a:ext>
            </a:extLst>
          </p:cNvPr>
          <p:cNvSpPr>
            <a:spLocks noGrp="1"/>
          </p:cNvSpPr>
          <p:nvPr>
            <p:ph type="body" sz="quarter" idx="10" hasCustomPrompt="1"/>
          </p:nvPr>
        </p:nvSpPr>
        <p:spPr>
          <a:xfrm>
            <a:off x="517218" y="4409215"/>
            <a:ext cx="5891633" cy="296271"/>
          </a:xfrm>
          <a:prstGeom prst="rect">
            <a:avLst/>
          </a:prstGeom>
        </p:spPr>
        <p:txBody>
          <a:bodyPr vert="horz" anchor="ctr">
            <a:noAutofit/>
          </a:bodyPr>
          <a:lstStyle>
            <a:lvl1pPr marL="0" indent="0" algn="l">
              <a:buNone/>
              <a:defRPr sz="1125" b="0">
                <a:solidFill>
                  <a:schemeClr val="bg1"/>
                </a:solidFill>
              </a:defRPr>
            </a:lvl1pPr>
            <a:lvl2pPr marL="342875" indent="0">
              <a:buNone/>
              <a:defRPr/>
            </a:lvl2pPr>
            <a:lvl3pPr marL="685748" indent="0">
              <a:buNone/>
              <a:defRPr/>
            </a:lvl3pPr>
            <a:lvl4pPr marL="1028622" indent="0">
              <a:buNone/>
              <a:defRPr/>
            </a:lvl4pPr>
            <a:lvl5pPr marL="1371498" indent="0">
              <a:buNone/>
              <a:defRPr/>
            </a:lvl5pPr>
          </a:lstStyle>
          <a:p>
            <a:pPr lvl="0"/>
            <a:r>
              <a:rPr lang="en-US" altLang="zh-CN" dirty="0"/>
              <a:t>Signature</a:t>
            </a:r>
          </a:p>
        </p:txBody>
      </p:sp>
      <p:sp>
        <p:nvSpPr>
          <p:cNvPr id="19" name="文本占位符 13">
            <a:extLst>
              <a:ext uri="{FF2B5EF4-FFF2-40B4-BE49-F238E27FC236}">
                <a16:creationId xmlns:a16="http://schemas.microsoft.com/office/drawing/2014/main" id="{466D28E3-CB24-4996-AFB8-2115958CFB90}"/>
              </a:ext>
            </a:extLst>
          </p:cNvPr>
          <p:cNvSpPr>
            <a:spLocks noGrp="1"/>
          </p:cNvSpPr>
          <p:nvPr>
            <p:ph type="body" sz="quarter" idx="11" hasCustomPrompt="1"/>
          </p:nvPr>
        </p:nvSpPr>
        <p:spPr>
          <a:xfrm>
            <a:off x="517218" y="4705486"/>
            <a:ext cx="5891633" cy="296271"/>
          </a:xfrm>
          <a:prstGeom prst="rect">
            <a:avLst/>
          </a:prstGeom>
        </p:spPr>
        <p:txBody>
          <a:bodyPr vert="horz" anchor="ctr">
            <a:noAutofit/>
          </a:bodyPr>
          <a:lstStyle>
            <a:lvl1pPr marL="0" indent="0" algn="l">
              <a:buNone/>
              <a:defRPr sz="1125" b="0">
                <a:solidFill>
                  <a:schemeClr val="bg1"/>
                </a:solidFill>
              </a:defRPr>
            </a:lvl1pPr>
            <a:lvl2pPr marL="342875" indent="0">
              <a:buNone/>
              <a:defRPr/>
            </a:lvl2pPr>
            <a:lvl3pPr marL="685748" indent="0">
              <a:buNone/>
              <a:defRPr/>
            </a:lvl3pPr>
            <a:lvl4pPr marL="1028622" indent="0">
              <a:buNone/>
              <a:defRPr/>
            </a:lvl4pPr>
            <a:lvl5pPr marL="1371498"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127084228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01445C-0F42-4457-8144-A2AD54ADE72F}"/>
              </a:ext>
            </a:extLst>
          </p:cNvPr>
          <p:cNvSpPr>
            <a:spLocks noGrp="1"/>
          </p:cNvSpPr>
          <p:nvPr>
            <p:ph type="ctrTitle"/>
          </p:nvPr>
        </p:nvSpPr>
        <p:spPr>
          <a:xfrm>
            <a:off x="1143000" y="1122363"/>
            <a:ext cx="6858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F9875917-6538-4C57-80BC-B869EA7E9CD5}"/>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C58B3B77-A285-4C1E-A58F-7163B8058E2A}"/>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5" name="页脚占位符 4">
            <a:extLst>
              <a:ext uri="{FF2B5EF4-FFF2-40B4-BE49-F238E27FC236}">
                <a16:creationId xmlns:a16="http://schemas.microsoft.com/office/drawing/2014/main" id="{0F2C25F4-C72A-4C17-A9D3-322610226D62}"/>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D8726CB-CEEE-4002-B2B0-BBED5852D079}"/>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42534741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98C86305-C873-4938-BA98-A11EF7947449}"/>
              </a:ext>
            </a:extLst>
          </p:cNvPr>
          <p:cNvSpPr txBox="1">
            <a:spLocks/>
          </p:cNvSpPr>
          <p:nvPr userDrawn="1"/>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A942566-58C1-481E-9EE0-2FCC0348CB02}" type="slidenum">
              <a:rPr lang="zh-CN" altLang="en-US" smtClean="0">
                <a:solidFill>
                  <a:prstClr val="black">
                    <a:tint val="75000"/>
                  </a:prstClr>
                </a:solidFill>
                <a:latin typeface="Calibri" panose="020F0502020204030204"/>
              </a:rPr>
              <a:pPr/>
              <a:t>‹#›</a:t>
            </a:fld>
            <a:endParaRPr lang="zh-CN" altLang="en-US">
              <a:solidFill>
                <a:prstClr val="black">
                  <a:tint val="75000"/>
                </a:prstClr>
              </a:solidFill>
              <a:latin typeface="Calibri" panose="020F0502020204030204"/>
            </a:endParaRPr>
          </a:p>
        </p:txBody>
      </p:sp>
      <p:cxnSp>
        <p:nvCxnSpPr>
          <p:cNvPr id="14" name="直接连接符 13">
            <a:extLst>
              <a:ext uri="{FF2B5EF4-FFF2-40B4-BE49-F238E27FC236}">
                <a16:creationId xmlns:a16="http://schemas.microsoft.com/office/drawing/2014/main" id="{649AAB3E-C018-4D70-8760-941E1E04DF10}"/>
              </a:ext>
            </a:extLst>
          </p:cNvPr>
          <p:cNvCxnSpPr>
            <a:cxnSpLocks/>
          </p:cNvCxnSpPr>
          <p:nvPr userDrawn="1"/>
        </p:nvCxnSpPr>
        <p:spPr>
          <a:xfrm>
            <a:off x="0" y="831619"/>
            <a:ext cx="9048750" cy="0"/>
          </a:xfrm>
          <a:prstGeom prst="line">
            <a:avLst/>
          </a:prstGeom>
          <a:noFill/>
          <a:ln w="28575" cap="flat" cmpd="sng" algn="ctr">
            <a:solidFill>
              <a:srgbClr val="003472"/>
            </a:solidFill>
            <a:prstDash val="solid"/>
            <a:miter lim="800000"/>
          </a:ln>
          <a:effectLst/>
        </p:spPr>
      </p:cxnSp>
      <p:cxnSp>
        <p:nvCxnSpPr>
          <p:cNvPr id="15" name="直接连接符 14">
            <a:extLst>
              <a:ext uri="{FF2B5EF4-FFF2-40B4-BE49-F238E27FC236}">
                <a16:creationId xmlns:a16="http://schemas.microsoft.com/office/drawing/2014/main" id="{5D731B68-9FF4-4EE0-A8B4-82DC518C906B}"/>
              </a:ext>
            </a:extLst>
          </p:cNvPr>
          <p:cNvCxnSpPr>
            <a:cxnSpLocks/>
          </p:cNvCxnSpPr>
          <p:nvPr userDrawn="1"/>
        </p:nvCxnSpPr>
        <p:spPr>
          <a:xfrm>
            <a:off x="77586" y="892579"/>
            <a:ext cx="9066414" cy="0"/>
          </a:xfrm>
          <a:prstGeom prst="line">
            <a:avLst/>
          </a:prstGeom>
          <a:noFill/>
          <a:ln w="28575" cap="flat" cmpd="sng" algn="ctr">
            <a:solidFill>
              <a:srgbClr val="003472"/>
            </a:solidFill>
            <a:prstDash val="solid"/>
            <a:miter lim="800000"/>
          </a:ln>
          <a:effectLst/>
        </p:spPr>
      </p:cxnSp>
      <p:cxnSp>
        <p:nvCxnSpPr>
          <p:cNvPr id="16" name="直接连接符 15">
            <a:extLst>
              <a:ext uri="{FF2B5EF4-FFF2-40B4-BE49-F238E27FC236}">
                <a16:creationId xmlns:a16="http://schemas.microsoft.com/office/drawing/2014/main" id="{FED852F2-9904-4C21-AFC2-AB70FD6B204B}"/>
              </a:ext>
            </a:extLst>
          </p:cNvPr>
          <p:cNvCxnSpPr>
            <a:cxnSpLocks/>
          </p:cNvCxnSpPr>
          <p:nvPr userDrawn="1"/>
        </p:nvCxnSpPr>
        <p:spPr>
          <a:xfrm flipV="1">
            <a:off x="533400" y="257175"/>
            <a:ext cx="0" cy="742950"/>
          </a:xfrm>
          <a:prstGeom prst="line">
            <a:avLst/>
          </a:prstGeom>
          <a:noFill/>
          <a:ln w="28575" cap="flat" cmpd="sng" algn="ctr">
            <a:solidFill>
              <a:srgbClr val="003472"/>
            </a:solidFill>
            <a:prstDash val="solid"/>
            <a:miter lim="800000"/>
          </a:ln>
          <a:effectLst/>
        </p:spPr>
      </p:cxnSp>
      <p:cxnSp>
        <p:nvCxnSpPr>
          <p:cNvPr id="17" name="直接连接符 16">
            <a:extLst>
              <a:ext uri="{FF2B5EF4-FFF2-40B4-BE49-F238E27FC236}">
                <a16:creationId xmlns:a16="http://schemas.microsoft.com/office/drawing/2014/main" id="{B1356552-49E4-4E3B-AC25-DCB223CE2E1B}"/>
              </a:ext>
            </a:extLst>
          </p:cNvPr>
          <p:cNvCxnSpPr>
            <a:cxnSpLocks/>
          </p:cNvCxnSpPr>
          <p:nvPr userDrawn="1"/>
        </p:nvCxnSpPr>
        <p:spPr>
          <a:xfrm flipV="1">
            <a:off x="466725" y="352425"/>
            <a:ext cx="0" cy="736601"/>
          </a:xfrm>
          <a:prstGeom prst="line">
            <a:avLst/>
          </a:prstGeom>
          <a:noFill/>
          <a:ln w="28575" cap="flat" cmpd="sng" algn="ctr">
            <a:solidFill>
              <a:srgbClr val="003472"/>
            </a:solidFill>
            <a:prstDash val="solid"/>
            <a:miter lim="800000"/>
          </a:ln>
          <a:effectLst/>
        </p:spPr>
      </p:cxnSp>
      <p:sp>
        <p:nvSpPr>
          <p:cNvPr id="19" name="标题 1">
            <a:extLst>
              <a:ext uri="{FF2B5EF4-FFF2-40B4-BE49-F238E27FC236}">
                <a16:creationId xmlns:a16="http://schemas.microsoft.com/office/drawing/2014/main" id="{8273684F-2B93-48BA-9D72-68A8F917C2DF}"/>
              </a:ext>
            </a:extLst>
          </p:cNvPr>
          <p:cNvSpPr>
            <a:spLocks noGrp="1"/>
          </p:cNvSpPr>
          <p:nvPr>
            <p:ph type="ctrTitle"/>
          </p:nvPr>
        </p:nvSpPr>
        <p:spPr>
          <a:xfrm>
            <a:off x="539749" y="310689"/>
            <a:ext cx="8070849" cy="520930"/>
          </a:xfrm>
        </p:spPr>
        <p:txBody>
          <a:bodyPr anchor="b">
            <a:normAutofit/>
          </a:bodyPr>
          <a:lstStyle>
            <a:lvl1pPr algn="l">
              <a:defRPr sz="2800"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343321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1EDFC1-DDAD-4A52-A93A-899F20ACA8F6}"/>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1F48DE88-139D-4390-8176-1DEB384D4773}"/>
              </a:ext>
            </a:extLst>
          </p:cNvPr>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0D8E7D9F-AF98-4D41-B70A-23BD19A4DAE4}"/>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5" name="页脚占位符 4">
            <a:extLst>
              <a:ext uri="{FF2B5EF4-FFF2-40B4-BE49-F238E27FC236}">
                <a16:creationId xmlns:a16="http://schemas.microsoft.com/office/drawing/2014/main" id="{8E5232F1-5419-4719-A497-4A31CF9E34E7}"/>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12945D9-2C29-4431-B3E2-354D45250A01}"/>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2537651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9512F4D-0467-45FC-B15E-EA402547EF68}"/>
              </a:ext>
            </a:extLst>
          </p:cNvPr>
          <p:cNvSpPr>
            <a:spLocks noGrp="1"/>
          </p:cNvSpPr>
          <p:nvPr>
            <p:ph type="title"/>
          </p:nvPr>
        </p:nvSpPr>
        <p:spPr>
          <a:xfrm>
            <a:off x="623888" y="1709738"/>
            <a:ext cx="78867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69EDF987-FAB4-4851-89D8-EF8B47A5234A}"/>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a:extLst>
              <a:ext uri="{FF2B5EF4-FFF2-40B4-BE49-F238E27FC236}">
                <a16:creationId xmlns:a16="http://schemas.microsoft.com/office/drawing/2014/main" id="{E316B3DD-0A2D-486F-9C8E-69D750596E84}"/>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5" name="页脚占位符 4">
            <a:extLst>
              <a:ext uri="{FF2B5EF4-FFF2-40B4-BE49-F238E27FC236}">
                <a16:creationId xmlns:a16="http://schemas.microsoft.com/office/drawing/2014/main" id="{06559F28-D708-41E8-A8A0-AEBF1A189F3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CDD4A5B1-1009-4DD0-AFF7-584AB56E7EE3}"/>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1128573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963ADD9-8949-4034-9520-81B7E93F0039}"/>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6129F7A2-0E36-43FA-845D-10529F9B1654}"/>
              </a:ext>
            </a:extLst>
          </p:cNvPr>
          <p:cNvSpPr>
            <a:spLocks noGrp="1"/>
          </p:cNvSpPr>
          <p:nvPr>
            <p:ph sz="half" idx="1"/>
          </p:nvPr>
        </p:nvSpPr>
        <p:spPr>
          <a:xfrm>
            <a:off x="628650" y="1825625"/>
            <a:ext cx="386715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a:extLst>
              <a:ext uri="{FF2B5EF4-FFF2-40B4-BE49-F238E27FC236}">
                <a16:creationId xmlns:a16="http://schemas.microsoft.com/office/drawing/2014/main" id="{D290AA74-92FB-4714-B08C-1401A0CB367D}"/>
              </a:ext>
            </a:extLst>
          </p:cNvPr>
          <p:cNvSpPr>
            <a:spLocks noGrp="1"/>
          </p:cNvSpPr>
          <p:nvPr>
            <p:ph sz="half" idx="2"/>
          </p:nvPr>
        </p:nvSpPr>
        <p:spPr>
          <a:xfrm>
            <a:off x="4648200" y="1825625"/>
            <a:ext cx="386715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a:extLst>
              <a:ext uri="{FF2B5EF4-FFF2-40B4-BE49-F238E27FC236}">
                <a16:creationId xmlns:a16="http://schemas.microsoft.com/office/drawing/2014/main" id="{02EF3438-D90F-4D91-8E72-5E9ED6D9B9B4}"/>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6" name="页脚占位符 5">
            <a:extLst>
              <a:ext uri="{FF2B5EF4-FFF2-40B4-BE49-F238E27FC236}">
                <a16:creationId xmlns:a16="http://schemas.microsoft.com/office/drawing/2014/main" id="{D36E34AA-5B4E-47FB-A4D0-4B2EF66B1FD0}"/>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136C218-D172-48BD-87A3-6351174C5346}"/>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7190687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EBF27CE-ABF8-4D91-9F9F-F6180DF5F6F2}"/>
              </a:ext>
            </a:extLst>
          </p:cNvPr>
          <p:cNvSpPr>
            <a:spLocks noGrp="1"/>
          </p:cNvSpPr>
          <p:nvPr>
            <p:ph type="title"/>
          </p:nvPr>
        </p:nvSpPr>
        <p:spPr>
          <a:xfrm>
            <a:off x="630238" y="365125"/>
            <a:ext cx="78867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3ECE2D6B-A029-43CC-BA50-AC3DE5B17EB3}"/>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a:extLst>
              <a:ext uri="{FF2B5EF4-FFF2-40B4-BE49-F238E27FC236}">
                <a16:creationId xmlns:a16="http://schemas.microsoft.com/office/drawing/2014/main" id="{EAC07FDB-3E46-4DA7-93BD-15E85922BAE8}"/>
              </a:ext>
            </a:extLst>
          </p:cNvPr>
          <p:cNvSpPr>
            <a:spLocks noGrp="1"/>
          </p:cNvSpPr>
          <p:nvPr>
            <p:ph sz="half" idx="2"/>
          </p:nvPr>
        </p:nvSpPr>
        <p:spPr>
          <a:xfrm>
            <a:off x="630238" y="2505075"/>
            <a:ext cx="386873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a:extLst>
              <a:ext uri="{FF2B5EF4-FFF2-40B4-BE49-F238E27FC236}">
                <a16:creationId xmlns:a16="http://schemas.microsoft.com/office/drawing/2014/main" id="{9E64FB4D-A49A-46E0-BC53-8E9A0406E355}"/>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a:extLst>
              <a:ext uri="{FF2B5EF4-FFF2-40B4-BE49-F238E27FC236}">
                <a16:creationId xmlns:a16="http://schemas.microsoft.com/office/drawing/2014/main" id="{2FE18B47-E00F-42C6-9CDD-32DB5A6A730B}"/>
              </a:ext>
            </a:extLst>
          </p:cNvPr>
          <p:cNvSpPr>
            <a:spLocks noGrp="1"/>
          </p:cNvSpPr>
          <p:nvPr>
            <p:ph sz="quarter" idx="4"/>
          </p:nvPr>
        </p:nvSpPr>
        <p:spPr>
          <a:xfrm>
            <a:off x="4629150" y="2505075"/>
            <a:ext cx="38877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a:extLst>
              <a:ext uri="{FF2B5EF4-FFF2-40B4-BE49-F238E27FC236}">
                <a16:creationId xmlns:a16="http://schemas.microsoft.com/office/drawing/2014/main" id="{005AE4C7-81CF-4C10-8B5B-7030F6E8999D}"/>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8" name="页脚占位符 7">
            <a:extLst>
              <a:ext uri="{FF2B5EF4-FFF2-40B4-BE49-F238E27FC236}">
                <a16:creationId xmlns:a16="http://schemas.microsoft.com/office/drawing/2014/main" id="{5B55F7D8-F71A-41C6-A7E1-5E6C4C85F0BD}"/>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0B7F9324-51D2-4D85-A19B-219ABABB4776}"/>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8464102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1238847-F72E-4E05-BD23-3CC665E21C87}"/>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94B99035-4759-4628-BC8C-20E061700C75}"/>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4" name="页脚占位符 3">
            <a:extLst>
              <a:ext uri="{FF2B5EF4-FFF2-40B4-BE49-F238E27FC236}">
                <a16:creationId xmlns:a16="http://schemas.microsoft.com/office/drawing/2014/main" id="{5E238CE5-4510-437E-935E-EF005DC946D8}"/>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CE3DC034-F858-4259-8312-8FDC515669F7}"/>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23135262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5C866340-4DDB-4128-BF50-414422B5559D}"/>
              </a:ext>
            </a:extLst>
          </p:cNvPr>
          <p:cNvSpPr txBox="1"/>
          <p:nvPr userDrawn="1"/>
        </p:nvSpPr>
        <p:spPr>
          <a:xfrm>
            <a:off x="1173707" y="3105834"/>
            <a:ext cx="1373875" cy="646331"/>
          </a:xfrm>
          <a:prstGeom prst="rect">
            <a:avLst/>
          </a:prstGeom>
          <a:noFill/>
        </p:spPr>
        <p:txBody>
          <a:bodyPr wrap="square" rtlCol="0">
            <a:spAutoFit/>
          </a:bodyPr>
          <a:lstStyle/>
          <a:p>
            <a:pPr algn="ctr"/>
            <a:r>
              <a:rPr lang="zh-CN" altLang="en-US" sz="3600" b="1" dirty="0">
                <a:solidFill>
                  <a:schemeClr val="accent1"/>
                </a:solidFill>
              </a:rPr>
              <a:t>目录</a:t>
            </a:r>
          </a:p>
        </p:txBody>
      </p:sp>
      <p:sp>
        <p:nvSpPr>
          <p:cNvPr id="7" name="Slide Number Placeholder 6">
            <a:extLst>
              <a:ext uri="{FF2B5EF4-FFF2-40B4-BE49-F238E27FC236}">
                <a16:creationId xmlns:a16="http://schemas.microsoft.com/office/drawing/2014/main" id="{01334600-70E4-41CA-9F9C-6BA44A3E874D}"/>
              </a:ext>
            </a:extLst>
          </p:cNvPr>
          <p:cNvSpPr>
            <a:spLocks noGrp="1"/>
          </p:cNvSpPr>
          <p:nvPr>
            <p:ph type="sldNum" sz="quarter" idx="10"/>
          </p:nvPr>
        </p:nvSpPr>
        <p:spPr/>
        <p:txBody>
          <a:bodyPr/>
          <a:lstStyle>
            <a:lvl1pPr>
              <a:defRPr sz="1600"/>
            </a:lvl1pPr>
          </a:lstStyle>
          <a:p>
            <a:fld id="{5DD3DB80-B894-403A-B48E-6FDC1A72010E}" type="slidenum">
              <a:rPr lang="zh-CN" altLang="en-US" smtClean="0"/>
              <a:pPr/>
              <a:t>‹#›</a:t>
            </a:fld>
            <a:endParaRPr lang="zh-CN" altLang="en-US" dirty="0"/>
          </a:p>
        </p:txBody>
      </p:sp>
      <p:sp>
        <p:nvSpPr>
          <p:cNvPr id="4" name="SmartArt Placeholder 3">
            <a:extLst>
              <a:ext uri="{FF2B5EF4-FFF2-40B4-BE49-F238E27FC236}">
                <a16:creationId xmlns:a16="http://schemas.microsoft.com/office/drawing/2014/main" id="{06F01A32-1D28-4244-80CA-9B36DA394DFB}"/>
              </a:ext>
            </a:extLst>
          </p:cNvPr>
          <p:cNvSpPr>
            <a:spLocks noGrp="1"/>
          </p:cNvSpPr>
          <p:nvPr>
            <p:ph type="dgm" sz="quarter" idx="11"/>
          </p:nvPr>
        </p:nvSpPr>
        <p:spPr>
          <a:xfrm>
            <a:off x="2547582" y="1397000"/>
            <a:ext cx="5689638" cy="4064000"/>
          </a:xfrm>
        </p:spPr>
        <p:txBody>
          <a:bodyPr/>
          <a:lstStyle>
            <a:lvl1pPr>
              <a:defRPr baseline="0">
                <a:latin typeface="+mj-lt"/>
                <a:ea typeface="+mj-ea"/>
              </a:defRPr>
            </a:lvl1pPr>
          </a:lstStyle>
          <a:p>
            <a:endParaRPr lang="en-US" dirty="0"/>
          </a:p>
        </p:txBody>
      </p:sp>
    </p:spTree>
    <p:extLst>
      <p:ext uri="{BB962C8B-B14F-4D97-AF65-F5344CB8AC3E}">
        <p14:creationId xmlns:p14="http://schemas.microsoft.com/office/powerpoint/2010/main" val="592439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7C20E1F9-E6DC-49EC-9E7C-DB4F20F90EC9}"/>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3" name="页脚占位符 2">
            <a:extLst>
              <a:ext uri="{FF2B5EF4-FFF2-40B4-BE49-F238E27FC236}">
                <a16:creationId xmlns:a16="http://schemas.microsoft.com/office/drawing/2014/main" id="{F1BFB646-88D3-4636-8712-DE9CD4938D63}"/>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91898D85-DD31-4657-ACEA-5B7A8AF6EEC8}"/>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198669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E04E639-AC88-4D1C-B4CE-F440367F883A}"/>
              </a:ext>
            </a:extLst>
          </p:cNvPr>
          <p:cNvSpPr>
            <a:spLocks noGrp="1"/>
          </p:cNvSpPr>
          <p:nvPr>
            <p:ph type="title"/>
          </p:nvPr>
        </p:nvSpPr>
        <p:spPr>
          <a:xfrm>
            <a:off x="630238" y="457200"/>
            <a:ext cx="2949575"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C8E17489-D289-40AA-8407-F9F258C7B993}"/>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a:extLst>
              <a:ext uri="{FF2B5EF4-FFF2-40B4-BE49-F238E27FC236}">
                <a16:creationId xmlns:a16="http://schemas.microsoft.com/office/drawing/2014/main" id="{98A7AA6F-DB17-4011-BA79-4D2887C8087E}"/>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a:extLst>
              <a:ext uri="{FF2B5EF4-FFF2-40B4-BE49-F238E27FC236}">
                <a16:creationId xmlns:a16="http://schemas.microsoft.com/office/drawing/2014/main" id="{C88D2678-B095-41A4-B39D-8F283D1F2B97}"/>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6" name="页脚占位符 5">
            <a:extLst>
              <a:ext uri="{FF2B5EF4-FFF2-40B4-BE49-F238E27FC236}">
                <a16:creationId xmlns:a16="http://schemas.microsoft.com/office/drawing/2014/main" id="{D7CC4304-B044-43D5-91EF-DEF3036EDB93}"/>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723B236B-5D86-40DB-99CB-DC1FB48212C4}"/>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15594143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41B095E-07CA-4967-84F5-A1A36751F6D3}"/>
              </a:ext>
            </a:extLst>
          </p:cNvPr>
          <p:cNvSpPr>
            <a:spLocks noGrp="1"/>
          </p:cNvSpPr>
          <p:nvPr>
            <p:ph type="title"/>
          </p:nvPr>
        </p:nvSpPr>
        <p:spPr>
          <a:xfrm>
            <a:off x="630238" y="457200"/>
            <a:ext cx="2949575"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DBA61FCF-8E20-418E-A515-5B3B3A8053C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D6B55596-F041-4966-BEA0-90A5FE608C16}"/>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a:extLst>
              <a:ext uri="{FF2B5EF4-FFF2-40B4-BE49-F238E27FC236}">
                <a16:creationId xmlns:a16="http://schemas.microsoft.com/office/drawing/2014/main" id="{D8600BC8-AED2-4926-B5D3-AA481DA72420}"/>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6" name="页脚占位符 5">
            <a:extLst>
              <a:ext uri="{FF2B5EF4-FFF2-40B4-BE49-F238E27FC236}">
                <a16:creationId xmlns:a16="http://schemas.microsoft.com/office/drawing/2014/main" id="{48F12C29-AD71-4481-B3E8-662F1B7ACD7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D624B397-A087-4573-BFBA-138F4E54CDAF}"/>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24404525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F39957B-5049-4DCF-A030-D8F524A40EBA}"/>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1AD12438-8002-48A4-8A2C-92BD9ED44ABB}"/>
              </a:ext>
            </a:extLst>
          </p:cNvPr>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6AD145FF-6B8A-42DD-A5F1-AAA2770D4EDB}"/>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5" name="页脚占位符 4">
            <a:extLst>
              <a:ext uri="{FF2B5EF4-FFF2-40B4-BE49-F238E27FC236}">
                <a16:creationId xmlns:a16="http://schemas.microsoft.com/office/drawing/2014/main" id="{1FDED9F7-DD5A-4099-AB03-3457EC831B06}"/>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28F01D1F-52D8-4670-843D-C15371EA6242}"/>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11737202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AEABF8F8-3A85-44F8-9B2C-B88A110327EB}"/>
              </a:ext>
            </a:extLst>
          </p:cNvPr>
          <p:cNvSpPr>
            <a:spLocks noGrp="1"/>
          </p:cNvSpPr>
          <p:nvPr>
            <p:ph type="title" orient="vert"/>
          </p:nvPr>
        </p:nvSpPr>
        <p:spPr>
          <a:xfrm>
            <a:off x="6543675" y="365125"/>
            <a:ext cx="1971675"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23790F45-EAF8-4F9C-8AC0-7DBAE11F8257}"/>
              </a:ext>
            </a:extLst>
          </p:cNvPr>
          <p:cNvSpPr>
            <a:spLocks noGrp="1"/>
          </p:cNvSpPr>
          <p:nvPr>
            <p:ph type="body" orient="vert" idx="1"/>
          </p:nvPr>
        </p:nvSpPr>
        <p:spPr>
          <a:xfrm>
            <a:off x="628650" y="365125"/>
            <a:ext cx="5762625"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9DFAFEBD-81F5-4355-8072-C91DDCA95742}"/>
              </a:ext>
            </a:extLst>
          </p:cNvPr>
          <p:cNvSpPr>
            <a:spLocks noGrp="1"/>
          </p:cNvSpPr>
          <p:nvPr>
            <p:ph type="dt" sz="half" idx="10"/>
          </p:nvPr>
        </p:nvSpPr>
        <p:spPr/>
        <p:txBody>
          <a:bodyPr/>
          <a:lstStyle/>
          <a:p>
            <a:fld id="{34C4BA68-90BE-48A9-927B-E172773F79FA}" type="datetimeFigureOut">
              <a:rPr lang="zh-CN" altLang="en-US" smtClean="0"/>
              <a:t>2024/5/27</a:t>
            </a:fld>
            <a:endParaRPr lang="zh-CN" altLang="en-US"/>
          </a:p>
        </p:txBody>
      </p:sp>
      <p:sp>
        <p:nvSpPr>
          <p:cNvPr id="5" name="页脚占位符 4">
            <a:extLst>
              <a:ext uri="{FF2B5EF4-FFF2-40B4-BE49-F238E27FC236}">
                <a16:creationId xmlns:a16="http://schemas.microsoft.com/office/drawing/2014/main" id="{C136138E-88B5-4577-8438-997CF94E7336}"/>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7EB761F-C20F-4D3B-98D4-CD0B56B38E74}"/>
              </a:ext>
            </a:extLst>
          </p:cNvPr>
          <p:cNvSpPr>
            <a:spLocks noGrp="1"/>
          </p:cNvSpPr>
          <p:nvPr>
            <p:ph type="sldNum" sz="quarter" idx="12"/>
          </p:nvPr>
        </p:nvSpPr>
        <p:spPr/>
        <p:txBody>
          <a:body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19838339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节标题 [4]">
    <p:spTree>
      <p:nvGrpSpPr>
        <p:cNvPr id="1" name=""/>
        <p:cNvGrpSpPr/>
        <p:nvPr/>
      </p:nvGrpSpPr>
      <p:grpSpPr>
        <a:xfrm>
          <a:off x="0" y="0"/>
          <a:ext cx="0" cy="0"/>
          <a:chOff x="0" y="0"/>
          <a:chExt cx="0" cy="0"/>
        </a:xfrm>
      </p:grpSpPr>
      <p:graphicFrame>
        <p:nvGraphicFramePr>
          <p:cNvPr id="2" name="图示 1">
            <a:extLst>
              <a:ext uri="{FF2B5EF4-FFF2-40B4-BE49-F238E27FC236}">
                <a16:creationId xmlns:a16="http://schemas.microsoft.com/office/drawing/2014/main" id="{7AD29D66-E8A6-45CF-B319-4E172F258C81}"/>
              </a:ext>
            </a:extLst>
          </p:cNvPr>
          <p:cNvGraphicFramePr/>
          <p:nvPr userDrawn="1">
            <p:extLst>
              <p:ext uri="{D42A27DB-BD31-4B8C-83A1-F6EECF244321}">
                <p14:modId xmlns:p14="http://schemas.microsoft.com/office/powerpoint/2010/main" val="2106090232"/>
              </p:ext>
            </p:extLst>
          </p:nvPr>
        </p:nvGraphicFramePr>
        <p:xfrm>
          <a:off x="2547582" y="1397000"/>
          <a:ext cx="568963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文本框 4">
            <a:extLst>
              <a:ext uri="{FF2B5EF4-FFF2-40B4-BE49-F238E27FC236}">
                <a16:creationId xmlns:a16="http://schemas.microsoft.com/office/drawing/2014/main" id="{5C866340-4DDB-4128-BF50-414422B5559D}"/>
              </a:ext>
            </a:extLst>
          </p:cNvPr>
          <p:cNvSpPr txBox="1"/>
          <p:nvPr userDrawn="1"/>
        </p:nvSpPr>
        <p:spPr>
          <a:xfrm>
            <a:off x="1173707" y="3105834"/>
            <a:ext cx="1373875" cy="646331"/>
          </a:xfrm>
          <a:prstGeom prst="rect">
            <a:avLst/>
          </a:prstGeom>
          <a:noFill/>
        </p:spPr>
        <p:txBody>
          <a:bodyPr wrap="square" rtlCol="0">
            <a:spAutoFit/>
          </a:bodyPr>
          <a:lstStyle/>
          <a:p>
            <a:pPr algn="ctr"/>
            <a:r>
              <a:rPr lang="zh-CN" altLang="en-US" sz="3600" b="1" dirty="0">
                <a:solidFill>
                  <a:schemeClr val="accent1"/>
                </a:solidFill>
              </a:rPr>
              <a:t>目录</a:t>
            </a:r>
          </a:p>
        </p:txBody>
      </p:sp>
      <p:sp>
        <p:nvSpPr>
          <p:cNvPr id="7" name="Slide Number Placeholder 6">
            <a:extLst>
              <a:ext uri="{FF2B5EF4-FFF2-40B4-BE49-F238E27FC236}">
                <a16:creationId xmlns:a16="http://schemas.microsoft.com/office/drawing/2014/main" id="{01334600-70E4-41CA-9F9C-6BA44A3E874D}"/>
              </a:ext>
            </a:extLst>
          </p:cNvPr>
          <p:cNvSpPr>
            <a:spLocks noGrp="1"/>
          </p:cNvSpPr>
          <p:nvPr>
            <p:ph type="sldNum" sz="quarter" idx="10"/>
          </p:nvPr>
        </p:nvSpPr>
        <p:spPr/>
        <p:txBody>
          <a:body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6489008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节标题 [5]">
    <p:spTree>
      <p:nvGrpSpPr>
        <p:cNvPr id="1" name=""/>
        <p:cNvGrpSpPr/>
        <p:nvPr/>
      </p:nvGrpSpPr>
      <p:grpSpPr>
        <a:xfrm>
          <a:off x="0" y="0"/>
          <a:ext cx="0" cy="0"/>
          <a:chOff x="0" y="0"/>
          <a:chExt cx="0" cy="0"/>
        </a:xfrm>
      </p:grpSpPr>
      <p:graphicFrame>
        <p:nvGraphicFramePr>
          <p:cNvPr id="2" name="图示 1">
            <a:extLst>
              <a:ext uri="{FF2B5EF4-FFF2-40B4-BE49-F238E27FC236}">
                <a16:creationId xmlns:a16="http://schemas.microsoft.com/office/drawing/2014/main" id="{7AD29D66-E8A6-45CF-B319-4E172F258C81}"/>
              </a:ext>
            </a:extLst>
          </p:cNvPr>
          <p:cNvGraphicFramePr/>
          <p:nvPr userDrawn="1">
            <p:extLst>
              <p:ext uri="{D42A27DB-BD31-4B8C-83A1-F6EECF244321}">
                <p14:modId xmlns:p14="http://schemas.microsoft.com/office/powerpoint/2010/main" val="1708206243"/>
              </p:ext>
            </p:extLst>
          </p:nvPr>
        </p:nvGraphicFramePr>
        <p:xfrm>
          <a:off x="2547582" y="1397000"/>
          <a:ext cx="568963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文本框 4">
            <a:extLst>
              <a:ext uri="{FF2B5EF4-FFF2-40B4-BE49-F238E27FC236}">
                <a16:creationId xmlns:a16="http://schemas.microsoft.com/office/drawing/2014/main" id="{5C866340-4DDB-4128-BF50-414422B5559D}"/>
              </a:ext>
            </a:extLst>
          </p:cNvPr>
          <p:cNvSpPr txBox="1"/>
          <p:nvPr userDrawn="1"/>
        </p:nvSpPr>
        <p:spPr>
          <a:xfrm>
            <a:off x="1173707" y="3105834"/>
            <a:ext cx="1373875" cy="646331"/>
          </a:xfrm>
          <a:prstGeom prst="rect">
            <a:avLst/>
          </a:prstGeom>
          <a:noFill/>
        </p:spPr>
        <p:txBody>
          <a:bodyPr wrap="square" rtlCol="0">
            <a:spAutoFit/>
          </a:bodyPr>
          <a:lstStyle/>
          <a:p>
            <a:pPr algn="ctr"/>
            <a:r>
              <a:rPr lang="zh-CN" altLang="en-US" sz="3600" b="1" dirty="0">
                <a:solidFill>
                  <a:schemeClr val="accent1"/>
                </a:solidFill>
              </a:rPr>
              <a:t>目录</a:t>
            </a:r>
          </a:p>
        </p:txBody>
      </p:sp>
      <p:sp>
        <p:nvSpPr>
          <p:cNvPr id="7" name="Slide Number Placeholder 6">
            <a:extLst>
              <a:ext uri="{FF2B5EF4-FFF2-40B4-BE49-F238E27FC236}">
                <a16:creationId xmlns:a16="http://schemas.microsoft.com/office/drawing/2014/main" id="{01334600-70E4-41CA-9F9C-6BA44A3E874D}"/>
              </a:ext>
            </a:extLst>
          </p:cNvPr>
          <p:cNvSpPr>
            <a:spLocks noGrp="1"/>
          </p:cNvSpPr>
          <p:nvPr>
            <p:ph type="sldNum" sz="quarter" idx="10"/>
          </p:nvPr>
        </p:nvSpPr>
        <p:spPr/>
        <p:txBody>
          <a:body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子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a:xfrm>
            <a:off x="885376" y="5"/>
            <a:ext cx="4342346" cy="1028696"/>
          </a:xfrm>
          <a:prstGeom prst="rect">
            <a:avLst/>
          </a:prstGeom>
        </p:spPr>
        <p:txBody>
          <a:bodyPr>
            <a:normAutofit/>
          </a:bodyPr>
          <a:lstStyle>
            <a:lvl1pPr>
              <a:defRPr sz="3200"/>
            </a:lvl1pPr>
          </a:lstStyle>
          <a:p>
            <a:r>
              <a:rPr lang="zh-CN" altLang="en-US" dirty="0"/>
              <a:t>章节名</a:t>
            </a:r>
            <a:endParaRPr lang="en-US" dirty="0"/>
          </a:p>
        </p:txBody>
      </p:sp>
      <p:grpSp>
        <p:nvGrpSpPr>
          <p:cNvPr id="8" name="Group 7">
            <a:extLst>
              <a:ext uri="{FF2B5EF4-FFF2-40B4-BE49-F238E27FC236}">
                <a16:creationId xmlns:a16="http://schemas.microsoft.com/office/drawing/2014/main" id="{24D205A5-ACEB-4680-8753-765396E28D05}"/>
              </a:ext>
            </a:extLst>
          </p:cNvPr>
          <p:cNvGrpSpPr/>
          <p:nvPr userDrawn="1"/>
        </p:nvGrpSpPr>
        <p:grpSpPr>
          <a:xfrm>
            <a:off x="503238" y="576812"/>
            <a:ext cx="382138" cy="368488"/>
            <a:chOff x="503238" y="576812"/>
            <a:chExt cx="382138" cy="368488"/>
          </a:xfrm>
        </p:grpSpPr>
        <p:sp>
          <p:nvSpPr>
            <p:cNvPr id="6" name="箭头: V 形 5">
              <a:extLst>
                <a:ext uri="{FF2B5EF4-FFF2-40B4-BE49-F238E27FC236}">
                  <a16:creationId xmlns:a16="http://schemas.microsoft.com/office/drawing/2014/main" id="{E103E472-8DC4-4ED1-A2DD-82351FFBA950}"/>
                </a:ext>
              </a:extLst>
            </p:cNvPr>
            <p:cNvSpPr/>
            <p:nvPr userDrawn="1"/>
          </p:nvSpPr>
          <p:spPr>
            <a:xfrm>
              <a:off x="503238" y="576812"/>
              <a:ext cx="218365" cy="368488"/>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7" name="箭头: V 形 6">
              <a:extLst>
                <a:ext uri="{FF2B5EF4-FFF2-40B4-BE49-F238E27FC236}">
                  <a16:creationId xmlns:a16="http://schemas.microsoft.com/office/drawing/2014/main" id="{23ECA6D4-03B7-41C9-963A-1762C16050E5}"/>
                </a:ext>
              </a:extLst>
            </p:cNvPr>
            <p:cNvSpPr/>
            <p:nvPr userDrawn="1"/>
          </p:nvSpPr>
          <p:spPr>
            <a:xfrm>
              <a:off x="667011" y="576812"/>
              <a:ext cx="218365" cy="368488"/>
            </a:xfrm>
            <a:prstGeom prst="chevron">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5" name="Slide Number Placeholder 4">
            <a:extLst>
              <a:ext uri="{FF2B5EF4-FFF2-40B4-BE49-F238E27FC236}">
                <a16:creationId xmlns:a16="http://schemas.microsoft.com/office/drawing/2014/main" id="{3AD369F0-6E74-4009-8DDE-6B751B33E639}"/>
              </a:ext>
            </a:extLst>
          </p:cNvPr>
          <p:cNvSpPr>
            <a:spLocks noGrp="1"/>
          </p:cNvSpPr>
          <p:nvPr>
            <p:ph type="sldNum" sz="quarter" idx="10"/>
          </p:nvPr>
        </p:nvSpPr>
        <p:spPr/>
        <p:txBody>
          <a:bodyPr/>
          <a:lstStyle/>
          <a:p>
            <a:fld id="{5DD3DB80-B894-403A-B48E-6FDC1A72010E}" type="slidenum">
              <a:rPr lang="zh-CN" altLang="en-US" smtClean="0"/>
              <a:pPr/>
              <a:t>‹#›</a:t>
            </a:fld>
            <a:endParaRPr lang="zh-CN" altLang="en-US" dirty="0"/>
          </a:p>
        </p:txBody>
      </p:sp>
      <p:sp>
        <p:nvSpPr>
          <p:cNvPr id="18" name="Text Placeholder 17">
            <a:extLst>
              <a:ext uri="{FF2B5EF4-FFF2-40B4-BE49-F238E27FC236}">
                <a16:creationId xmlns:a16="http://schemas.microsoft.com/office/drawing/2014/main" id="{B43E0D05-207F-43EC-A43B-0075E9DADCDE}"/>
              </a:ext>
            </a:extLst>
          </p:cNvPr>
          <p:cNvSpPr>
            <a:spLocks noGrp="1"/>
          </p:cNvSpPr>
          <p:nvPr>
            <p:ph type="body" sz="quarter" idx="11" hasCustomPrompt="1"/>
          </p:nvPr>
        </p:nvSpPr>
        <p:spPr>
          <a:xfrm>
            <a:off x="885376" y="1130300"/>
            <a:ext cx="7755387" cy="461665"/>
          </a:xfrm>
        </p:spPr>
        <p:txBody>
          <a:bodyPr anchor="ctr" anchorCtr="0">
            <a:normAutofit/>
          </a:bodyPr>
          <a:lstStyle>
            <a:lvl1pPr marL="0" indent="0" algn="l">
              <a:buNone/>
              <a:defRPr sz="2400" b="1" baseline="0">
                <a:latin typeface="+mj-lt"/>
                <a:ea typeface="+mj-ea"/>
              </a:defRPr>
            </a:lvl1pPr>
          </a:lstStyle>
          <a:p>
            <a:pPr lvl="0"/>
            <a:r>
              <a:rPr lang="zh-CN" altLang="en-US" dirty="0"/>
              <a:t>页面子标题</a:t>
            </a:r>
            <a:endParaRPr lang="en-US" dirty="0"/>
          </a:p>
        </p:txBody>
      </p:sp>
      <p:grpSp>
        <p:nvGrpSpPr>
          <p:cNvPr id="12" name="组合 11">
            <a:extLst>
              <a:ext uri="{FF2B5EF4-FFF2-40B4-BE49-F238E27FC236}">
                <a16:creationId xmlns:a16="http://schemas.microsoft.com/office/drawing/2014/main" id="{CD00F548-E556-45B8-871E-DCEFA2D6C14C}"/>
              </a:ext>
            </a:extLst>
          </p:cNvPr>
          <p:cNvGrpSpPr/>
          <p:nvPr userDrawn="1"/>
        </p:nvGrpSpPr>
        <p:grpSpPr>
          <a:xfrm>
            <a:off x="5773760" y="417308"/>
            <a:ext cx="2866605" cy="527992"/>
            <a:chOff x="5773760" y="417308"/>
            <a:chExt cx="2866605" cy="527992"/>
          </a:xfrm>
        </p:grpSpPr>
        <p:pic>
          <p:nvPicPr>
            <p:cNvPr id="4" name="图片 3">
              <a:extLst>
                <a:ext uri="{FF2B5EF4-FFF2-40B4-BE49-F238E27FC236}">
                  <a16:creationId xmlns:a16="http://schemas.microsoft.com/office/drawing/2014/main" id="{099C84F4-C6E3-464C-90C0-51080697CE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43949" y="514353"/>
              <a:ext cx="1996416" cy="399283"/>
            </a:xfrm>
            <a:prstGeom prst="rect">
              <a:avLst/>
            </a:prstGeom>
          </p:spPr>
        </p:pic>
        <p:pic>
          <p:nvPicPr>
            <p:cNvPr id="11" name="图片 10">
              <a:extLst>
                <a:ext uri="{FF2B5EF4-FFF2-40B4-BE49-F238E27FC236}">
                  <a16:creationId xmlns:a16="http://schemas.microsoft.com/office/drawing/2014/main" id="{3B2EDCC3-AFA4-4B22-91A5-99F57C25056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73760" y="417308"/>
              <a:ext cx="694989" cy="527992"/>
            </a:xfrm>
            <a:prstGeom prst="rect">
              <a:avLst/>
            </a:prstGeom>
          </p:spPr>
        </p:pic>
      </p:grpSp>
    </p:spTree>
    <p:extLst>
      <p:ext uri="{BB962C8B-B14F-4D97-AF65-F5344CB8AC3E}">
        <p14:creationId xmlns:p14="http://schemas.microsoft.com/office/powerpoint/2010/main" val="23201826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a:xfrm>
            <a:off x="885376" y="5"/>
            <a:ext cx="4342346" cy="1028696"/>
          </a:xfrm>
          <a:prstGeom prst="rect">
            <a:avLst/>
          </a:prstGeom>
        </p:spPr>
        <p:txBody>
          <a:bodyPr>
            <a:normAutofit/>
          </a:bodyPr>
          <a:lstStyle>
            <a:lvl1pPr>
              <a:defRPr sz="3200"/>
            </a:lvl1pPr>
          </a:lstStyle>
          <a:p>
            <a:r>
              <a:rPr lang="zh-CN" altLang="en-US" dirty="0"/>
              <a:t>章节名</a:t>
            </a:r>
            <a:endParaRPr lang="en-US" dirty="0"/>
          </a:p>
        </p:txBody>
      </p:sp>
      <p:grpSp>
        <p:nvGrpSpPr>
          <p:cNvPr id="8" name="Group 7">
            <a:extLst>
              <a:ext uri="{FF2B5EF4-FFF2-40B4-BE49-F238E27FC236}">
                <a16:creationId xmlns:a16="http://schemas.microsoft.com/office/drawing/2014/main" id="{24D205A5-ACEB-4680-8753-765396E28D05}"/>
              </a:ext>
            </a:extLst>
          </p:cNvPr>
          <p:cNvGrpSpPr/>
          <p:nvPr userDrawn="1"/>
        </p:nvGrpSpPr>
        <p:grpSpPr>
          <a:xfrm>
            <a:off x="503238" y="576812"/>
            <a:ext cx="382138" cy="368488"/>
            <a:chOff x="503238" y="576812"/>
            <a:chExt cx="382138" cy="368488"/>
          </a:xfrm>
        </p:grpSpPr>
        <p:sp>
          <p:nvSpPr>
            <p:cNvPr id="6" name="箭头: V 形 5">
              <a:extLst>
                <a:ext uri="{FF2B5EF4-FFF2-40B4-BE49-F238E27FC236}">
                  <a16:creationId xmlns:a16="http://schemas.microsoft.com/office/drawing/2014/main" id="{E103E472-8DC4-4ED1-A2DD-82351FFBA950}"/>
                </a:ext>
              </a:extLst>
            </p:cNvPr>
            <p:cNvSpPr/>
            <p:nvPr userDrawn="1"/>
          </p:nvSpPr>
          <p:spPr>
            <a:xfrm>
              <a:off x="503238" y="576812"/>
              <a:ext cx="218365" cy="368488"/>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7" name="箭头: V 形 6">
              <a:extLst>
                <a:ext uri="{FF2B5EF4-FFF2-40B4-BE49-F238E27FC236}">
                  <a16:creationId xmlns:a16="http://schemas.microsoft.com/office/drawing/2014/main" id="{23ECA6D4-03B7-41C9-963A-1762C16050E5}"/>
                </a:ext>
              </a:extLst>
            </p:cNvPr>
            <p:cNvSpPr/>
            <p:nvPr userDrawn="1"/>
          </p:nvSpPr>
          <p:spPr>
            <a:xfrm>
              <a:off x="667011" y="576812"/>
              <a:ext cx="218365" cy="368488"/>
            </a:xfrm>
            <a:prstGeom prst="chevron">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5" name="Slide Number Placeholder 4">
            <a:extLst>
              <a:ext uri="{FF2B5EF4-FFF2-40B4-BE49-F238E27FC236}">
                <a16:creationId xmlns:a16="http://schemas.microsoft.com/office/drawing/2014/main" id="{3AD369F0-6E74-4009-8DDE-6B751B33E639}"/>
              </a:ext>
            </a:extLst>
          </p:cNvPr>
          <p:cNvSpPr>
            <a:spLocks noGrp="1"/>
          </p:cNvSpPr>
          <p:nvPr>
            <p:ph type="sldNum" sz="quarter" idx="10"/>
          </p:nvPr>
        </p:nvSpPr>
        <p:spPr/>
        <p:txBody>
          <a:bodyPr/>
          <a:lstStyle/>
          <a:p>
            <a:fld id="{5DD3DB80-B894-403A-B48E-6FDC1A72010E}" type="slidenum">
              <a:rPr lang="zh-CN" altLang="en-US" smtClean="0"/>
              <a:pPr/>
              <a:t>‹#›</a:t>
            </a:fld>
            <a:endParaRPr lang="zh-CN" altLang="en-US" dirty="0"/>
          </a:p>
        </p:txBody>
      </p:sp>
      <p:grpSp>
        <p:nvGrpSpPr>
          <p:cNvPr id="11" name="组合 10">
            <a:extLst>
              <a:ext uri="{FF2B5EF4-FFF2-40B4-BE49-F238E27FC236}">
                <a16:creationId xmlns:a16="http://schemas.microsoft.com/office/drawing/2014/main" id="{D0E37674-7E4A-4B9B-BD79-4EA7FB0EEBC8}"/>
              </a:ext>
            </a:extLst>
          </p:cNvPr>
          <p:cNvGrpSpPr/>
          <p:nvPr userDrawn="1"/>
        </p:nvGrpSpPr>
        <p:grpSpPr>
          <a:xfrm>
            <a:off x="5773760" y="417308"/>
            <a:ext cx="2866605" cy="527992"/>
            <a:chOff x="5773760" y="417308"/>
            <a:chExt cx="2866605" cy="527992"/>
          </a:xfrm>
        </p:grpSpPr>
        <p:pic>
          <p:nvPicPr>
            <p:cNvPr id="12" name="图片 11">
              <a:extLst>
                <a:ext uri="{FF2B5EF4-FFF2-40B4-BE49-F238E27FC236}">
                  <a16:creationId xmlns:a16="http://schemas.microsoft.com/office/drawing/2014/main" id="{C0EF5E08-345C-4088-843F-FE165253C14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43949" y="514353"/>
              <a:ext cx="1996416" cy="399283"/>
            </a:xfrm>
            <a:prstGeom prst="rect">
              <a:avLst/>
            </a:prstGeom>
          </p:spPr>
        </p:pic>
        <p:pic>
          <p:nvPicPr>
            <p:cNvPr id="13" name="图片 12">
              <a:extLst>
                <a:ext uri="{FF2B5EF4-FFF2-40B4-BE49-F238E27FC236}">
                  <a16:creationId xmlns:a16="http://schemas.microsoft.com/office/drawing/2014/main" id="{0F7474F9-924A-4014-9602-AE46C5971A8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73760" y="417308"/>
              <a:ext cx="694989" cy="527992"/>
            </a:xfrm>
            <a:prstGeom prst="rect">
              <a:avLst/>
            </a:prstGeom>
          </p:spPr>
        </p:pic>
      </p:grpSp>
    </p:spTree>
    <p:extLst>
      <p:ext uri="{BB962C8B-B14F-4D97-AF65-F5344CB8AC3E}">
        <p14:creationId xmlns:p14="http://schemas.microsoft.com/office/powerpoint/2010/main" val="796031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空白页">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141E1D-FACE-41E6-ADF8-9190D09477AA}"/>
              </a:ext>
            </a:extLst>
          </p:cNvPr>
          <p:cNvSpPr>
            <a:spLocks noGrp="1"/>
          </p:cNvSpPr>
          <p:nvPr>
            <p:ph type="sldNum" sz="quarter" idx="10"/>
          </p:nvPr>
        </p:nvSpPr>
        <p:spPr/>
        <p:txBody>
          <a:bodyPr/>
          <a:lstStyle/>
          <a:p>
            <a:fld id="{5DD3DB80-B894-403A-B48E-6FDC1A72010E}" type="slidenum">
              <a:rPr lang="zh-CN" altLang="en-US" smtClean="0"/>
              <a:pPr/>
              <a:t>‹#›</a:t>
            </a:fld>
            <a:endParaRPr lang="zh-CN" altLang="en-US" dirty="0"/>
          </a:p>
        </p:txBody>
      </p:sp>
    </p:spTree>
    <p:extLst>
      <p:ext uri="{BB962C8B-B14F-4D97-AF65-F5344CB8AC3E}">
        <p14:creationId xmlns:p14="http://schemas.microsoft.com/office/powerpoint/2010/main" val="29766722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过渡页">
    <p:spTree>
      <p:nvGrpSpPr>
        <p:cNvPr id="1" name=""/>
        <p:cNvGrpSpPr/>
        <p:nvPr/>
      </p:nvGrpSpPr>
      <p:grpSpPr>
        <a:xfrm>
          <a:off x="0" y="0"/>
          <a:ext cx="0" cy="0"/>
          <a:chOff x="0" y="0"/>
          <a:chExt cx="0" cy="0"/>
        </a:xfrm>
      </p:grpSpPr>
      <p:sp>
        <p:nvSpPr>
          <p:cNvPr id="29" name="文本框 28">
            <a:extLst>
              <a:ext uri="{FF2B5EF4-FFF2-40B4-BE49-F238E27FC236}">
                <a16:creationId xmlns:a16="http://schemas.microsoft.com/office/drawing/2014/main" id="{5C866340-4DDB-4128-BF50-414422B5559D}"/>
              </a:ext>
            </a:extLst>
          </p:cNvPr>
          <p:cNvSpPr txBox="1"/>
          <p:nvPr userDrawn="1"/>
        </p:nvSpPr>
        <p:spPr>
          <a:xfrm>
            <a:off x="1173707" y="3105834"/>
            <a:ext cx="1373875" cy="646331"/>
          </a:xfrm>
          <a:prstGeom prst="rect">
            <a:avLst/>
          </a:prstGeom>
          <a:noFill/>
        </p:spPr>
        <p:txBody>
          <a:bodyPr wrap="square" rtlCol="0">
            <a:spAutoFit/>
          </a:bodyPr>
          <a:lstStyle/>
          <a:p>
            <a:pPr algn="ctr"/>
            <a:r>
              <a:rPr lang="zh-CN" altLang="en-US" sz="3600" b="1" dirty="0">
                <a:solidFill>
                  <a:schemeClr val="accent1"/>
                </a:solidFill>
              </a:rPr>
              <a:t>目录</a:t>
            </a:r>
          </a:p>
        </p:txBody>
      </p:sp>
      <p:graphicFrame>
        <p:nvGraphicFramePr>
          <p:cNvPr id="4" name="图示 3">
            <a:extLst>
              <a:ext uri="{FF2B5EF4-FFF2-40B4-BE49-F238E27FC236}">
                <a16:creationId xmlns:a16="http://schemas.microsoft.com/office/drawing/2014/main" id="{7AD29D66-E8A6-45CF-B319-4E172F258C81}"/>
              </a:ext>
            </a:extLst>
          </p:cNvPr>
          <p:cNvGraphicFramePr/>
          <p:nvPr userDrawn="1">
            <p:extLst>
              <p:ext uri="{D42A27DB-BD31-4B8C-83A1-F6EECF244321}">
                <p14:modId xmlns:p14="http://schemas.microsoft.com/office/powerpoint/2010/main" val="1899263275"/>
              </p:ext>
            </p:extLst>
          </p:nvPr>
        </p:nvGraphicFramePr>
        <p:xfrm>
          <a:off x="2547582" y="1397000"/>
          <a:ext cx="568963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971840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节标题">
    <p:spTree>
      <p:nvGrpSpPr>
        <p:cNvPr id="1" name=""/>
        <p:cNvGrpSpPr/>
        <p:nvPr/>
      </p:nvGrpSpPr>
      <p:grpSpPr>
        <a:xfrm>
          <a:off x="0" y="0"/>
          <a:ext cx="0" cy="0"/>
          <a:chOff x="0" y="0"/>
          <a:chExt cx="0" cy="0"/>
        </a:xfrm>
      </p:grpSpPr>
      <p:graphicFrame>
        <p:nvGraphicFramePr>
          <p:cNvPr id="29" name="图示 28">
            <a:extLst>
              <a:ext uri="{FF2B5EF4-FFF2-40B4-BE49-F238E27FC236}">
                <a16:creationId xmlns:a16="http://schemas.microsoft.com/office/drawing/2014/main" id="{7AD29D66-E8A6-45CF-B319-4E172F258C81}"/>
              </a:ext>
            </a:extLst>
          </p:cNvPr>
          <p:cNvGraphicFramePr/>
          <p:nvPr userDrawn="1">
            <p:extLst>
              <p:ext uri="{D42A27DB-BD31-4B8C-83A1-F6EECF244321}">
                <p14:modId xmlns:p14="http://schemas.microsoft.com/office/powerpoint/2010/main" val="283783096"/>
              </p:ext>
            </p:extLst>
          </p:nvPr>
        </p:nvGraphicFramePr>
        <p:xfrm>
          <a:off x="2547582" y="1397000"/>
          <a:ext cx="568963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文本框 29">
            <a:extLst>
              <a:ext uri="{FF2B5EF4-FFF2-40B4-BE49-F238E27FC236}">
                <a16:creationId xmlns:a16="http://schemas.microsoft.com/office/drawing/2014/main" id="{5C866340-4DDB-4128-BF50-414422B5559D}"/>
              </a:ext>
            </a:extLst>
          </p:cNvPr>
          <p:cNvSpPr txBox="1"/>
          <p:nvPr userDrawn="1"/>
        </p:nvSpPr>
        <p:spPr>
          <a:xfrm>
            <a:off x="1173707" y="3105834"/>
            <a:ext cx="1373875" cy="646331"/>
          </a:xfrm>
          <a:prstGeom prst="rect">
            <a:avLst/>
          </a:prstGeom>
          <a:noFill/>
        </p:spPr>
        <p:txBody>
          <a:bodyPr wrap="square" rtlCol="0">
            <a:spAutoFit/>
          </a:bodyPr>
          <a:lstStyle/>
          <a:p>
            <a:pPr algn="ctr"/>
            <a:r>
              <a:rPr lang="zh-CN" altLang="en-US" sz="3600" b="1" dirty="0">
                <a:solidFill>
                  <a:schemeClr val="accent1"/>
                </a:solidFill>
              </a:rPr>
              <a:t>目录</a:t>
            </a:r>
          </a:p>
        </p:txBody>
      </p:sp>
    </p:spTree>
    <p:extLst>
      <p:ext uri="{BB962C8B-B14F-4D97-AF65-F5344CB8AC3E}">
        <p14:creationId xmlns:p14="http://schemas.microsoft.com/office/powerpoint/2010/main" val="39586826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标题占位符 1">
            <a:extLst>
              <a:ext uri="{FF2B5EF4-FFF2-40B4-BE49-F238E27FC236}">
                <a16:creationId xmlns:a16="http://schemas.microsoft.com/office/drawing/2014/main" id="{CFE55AD7-8257-4911-AC36-AC6459CFF318}"/>
              </a:ext>
            </a:extLst>
          </p:cNvPr>
          <p:cNvSpPr>
            <a:spLocks noGrp="1"/>
          </p:cNvSpPr>
          <p:nvPr>
            <p:ph type="title"/>
          </p:nvPr>
        </p:nvSpPr>
        <p:spPr>
          <a:xfrm>
            <a:off x="885376" y="4"/>
            <a:ext cx="7754990"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9" name="文本占位符 2">
            <a:extLst>
              <a:ext uri="{FF2B5EF4-FFF2-40B4-BE49-F238E27FC236}">
                <a16:creationId xmlns:a16="http://schemas.microsoft.com/office/drawing/2014/main" id="{18BF95F8-07BE-4231-9710-5EA0938947F8}"/>
              </a:ext>
            </a:extLst>
          </p:cNvPr>
          <p:cNvSpPr>
            <a:spLocks noGrp="1"/>
          </p:cNvSpPr>
          <p:nvPr>
            <p:ph type="body" idx="1"/>
          </p:nvPr>
        </p:nvSpPr>
        <p:spPr>
          <a:xfrm>
            <a:off x="502444" y="1130300"/>
            <a:ext cx="8137922" cy="50069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10" name="直接连接符 9">
            <a:extLst>
              <a:ext uri="{FF2B5EF4-FFF2-40B4-BE49-F238E27FC236}">
                <a16:creationId xmlns:a16="http://schemas.microsoft.com/office/drawing/2014/main" id="{13FE8F44-67B1-49E5-B781-C5748DA5DBB8}"/>
              </a:ext>
            </a:extLst>
          </p:cNvPr>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灯片编号占位符 5">
            <a:extLst>
              <a:ext uri="{FF2B5EF4-FFF2-40B4-BE49-F238E27FC236}">
                <a16:creationId xmlns:a16="http://schemas.microsoft.com/office/drawing/2014/main" id="{D52A4E11-9CDD-4786-856E-6BA047ABFBD2}"/>
              </a:ext>
            </a:extLst>
          </p:cNvPr>
          <p:cNvSpPr>
            <a:spLocks noGrp="1"/>
          </p:cNvSpPr>
          <p:nvPr>
            <p:ph type="sldNum" sz="quarter" idx="4"/>
          </p:nvPr>
        </p:nvSpPr>
        <p:spPr>
          <a:xfrm>
            <a:off x="8141495" y="6240466"/>
            <a:ext cx="498870" cy="252409"/>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5DD3DB80-B894-403A-B48E-6FDC1A72010E}" type="slidenum">
              <a:rPr lang="zh-CN" altLang="en-US" smtClean="0"/>
              <a:pPr/>
              <a:t>‹#›</a:t>
            </a:fld>
            <a:endParaRPr lang="zh-CN" altLang="en-US" dirty="0"/>
          </a:p>
        </p:txBody>
      </p:sp>
      <p:grpSp>
        <p:nvGrpSpPr>
          <p:cNvPr id="14" name="Group 13">
            <a:extLst>
              <a:ext uri="{FF2B5EF4-FFF2-40B4-BE49-F238E27FC236}">
                <a16:creationId xmlns:a16="http://schemas.microsoft.com/office/drawing/2014/main" id="{0BC43E93-7FAE-4C1E-9145-5DEA030CE1EB}"/>
              </a:ext>
            </a:extLst>
          </p:cNvPr>
          <p:cNvGrpSpPr/>
          <p:nvPr userDrawn="1"/>
        </p:nvGrpSpPr>
        <p:grpSpPr>
          <a:xfrm>
            <a:off x="503238" y="576812"/>
            <a:ext cx="382138" cy="368488"/>
            <a:chOff x="503238" y="576812"/>
            <a:chExt cx="382138" cy="368488"/>
          </a:xfrm>
        </p:grpSpPr>
        <p:sp>
          <p:nvSpPr>
            <p:cNvPr id="15" name="箭头: V 形 5">
              <a:extLst>
                <a:ext uri="{FF2B5EF4-FFF2-40B4-BE49-F238E27FC236}">
                  <a16:creationId xmlns:a16="http://schemas.microsoft.com/office/drawing/2014/main" id="{8EA044CF-0286-491A-BFF9-B31035505402}"/>
                </a:ext>
              </a:extLst>
            </p:cNvPr>
            <p:cNvSpPr/>
            <p:nvPr userDrawn="1"/>
          </p:nvSpPr>
          <p:spPr>
            <a:xfrm>
              <a:off x="503238" y="576812"/>
              <a:ext cx="218365" cy="368488"/>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6" name="箭头: V 形 6">
              <a:extLst>
                <a:ext uri="{FF2B5EF4-FFF2-40B4-BE49-F238E27FC236}">
                  <a16:creationId xmlns:a16="http://schemas.microsoft.com/office/drawing/2014/main" id="{1E697E18-4E7A-4867-9395-C0EE38F3B39C}"/>
                </a:ext>
              </a:extLst>
            </p:cNvPr>
            <p:cNvSpPr/>
            <p:nvPr userDrawn="1"/>
          </p:nvSpPr>
          <p:spPr>
            <a:xfrm>
              <a:off x="667011" y="576812"/>
              <a:ext cx="218365" cy="368488"/>
            </a:xfrm>
            <a:prstGeom prst="chevron">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66" r:id="rId2"/>
    <p:sldLayoutId id="2147483667" r:id="rId3"/>
    <p:sldLayoutId id="2147483651" r:id="rId4"/>
    <p:sldLayoutId id="2147483663" r:id="rId5"/>
    <p:sldLayoutId id="2147483668" r:id="rId6"/>
    <p:sldLayoutId id="2147483665" r:id="rId7"/>
    <p:sldLayoutId id="2147483685" r:id="rId8"/>
    <p:sldLayoutId id="2147483686" r:id="rId9"/>
    <p:sldLayoutId id="2147483687" r:id="rId10"/>
    <p:sldLayoutId id="2147483688" r:id="rId11"/>
    <p:sldLayoutId id="2147483689" r:id="rId12"/>
  </p:sldLayoutIdLst>
  <p:hf hdr="0" dt="0"/>
  <p:txStyles>
    <p:titleStyle>
      <a:lvl1pPr algn="l" defTabSz="685749"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userDrawn="1">
          <p15:clr>
            <a:srgbClr val="F26B43"/>
          </p15:clr>
        </p15:guide>
        <p15:guide id="2" pos="5443"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A777EC15-E892-4837-B44A-04481F44A884}"/>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B6FC0FC7-8E97-420F-8767-086418E9C0F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189F0A97-BA49-44E0-AF50-5BE3C011FD99}"/>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C4BA68-90BE-48A9-927B-E172773F79FA}" type="datetimeFigureOut">
              <a:rPr lang="zh-CN" altLang="en-US" smtClean="0"/>
              <a:t>2024/5/27</a:t>
            </a:fld>
            <a:endParaRPr lang="zh-CN" altLang="en-US"/>
          </a:p>
        </p:txBody>
      </p:sp>
      <p:sp>
        <p:nvSpPr>
          <p:cNvPr id="5" name="页脚占位符 4">
            <a:extLst>
              <a:ext uri="{FF2B5EF4-FFF2-40B4-BE49-F238E27FC236}">
                <a16:creationId xmlns:a16="http://schemas.microsoft.com/office/drawing/2014/main" id="{27DE59C7-6B98-4428-940B-F2F7EFC43333}"/>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85C8F867-1258-4369-AADA-408C6BC6B59C}"/>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122A8B-8374-4DE7-AD1F-F4972EC139E8}" type="slidenum">
              <a:rPr lang="zh-CN" altLang="en-US" smtClean="0"/>
              <a:t>‹#›</a:t>
            </a:fld>
            <a:endParaRPr lang="zh-CN" altLang="en-US"/>
          </a:p>
        </p:txBody>
      </p:sp>
    </p:spTree>
    <p:extLst>
      <p:ext uri="{BB962C8B-B14F-4D97-AF65-F5344CB8AC3E}">
        <p14:creationId xmlns:p14="http://schemas.microsoft.com/office/powerpoint/2010/main" val="372170435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340">
          <p15:clr>
            <a:srgbClr val="F26B43"/>
          </p15:clr>
        </p15:guide>
        <p15:guide id="3" pos="542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DFF16-C949-4ED0-82CA-3DBD9E1D771A}"/>
              </a:ext>
            </a:extLst>
          </p:cNvPr>
          <p:cNvSpPr>
            <a:spLocks noGrp="1"/>
          </p:cNvSpPr>
          <p:nvPr>
            <p:ph type="ctrTitle"/>
          </p:nvPr>
        </p:nvSpPr>
        <p:spPr/>
        <p:txBody>
          <a:bodyPr>
            <a:normAutofit fontScale="90000"/>
          </a:bodyPr>
          <a:lstStyle/>
          <a:p>
            <a:pPr>
              <a:lnSpc>
                <a:spcPct val="125000"/>
              </a:lnSpc>
            </a:pPr>
            <a:r>
              <a:rPr lang="en-US" altLang="zh-CN" dirty="0"/>
              <a:t>《</a:t>
            </a:r>
            <a:r>
              <a:rPr lang="zh-CN" altLang="en-US" dirty="0"/>
              <a:t>通信编码安全理论</a:t>
            </a:r>
            <a:r>
              <a:rPr lang="en-US" altLang="zh-CN" dirty="0"/>
              <a:t>》</a:t>
            </a:r>
            <a:br>
              <a:rPr lang="en-US" altLang="zh-CN" dirty="0"/>
            </a:br>
            <a:r>
              <a:rPr lang="zh-CN" altLang="zh-CN" dirty="0">
                <a:solidFill>
                  <a:schemeClr val="accent4">
                    <a:lumMod val="60000"/>
                    <a:lumOff val="40000"/>
                  </a:schemeClr>
                </a:solidFill>
              </a:rPr>
              <a:t>基于反馈的极化码窃听信道保密编码方案</a:t>
            </a:r>
            <a:endParaRPr lang="en-US" dirty="0">
              <a:solidFill>
                <a:schemeClr val="accent4">
                  <a:lumMod val="60000"/>
                  <a:lumOff val="40000"/>
                </a:schemeClr>
              </a:solidFill>
            </a:endParaRPr>
          </a:p>
        </p:txBody>
      </p:sp>
      <p:sp>
        <p:nvSpPr>
          <p:cNvPr id="4" name="PA-TextPlaceholder 2">
            <a:extLst>
              <a:ext uri="{FF2B5EF4-FFF2-40B4-BE49-F238E27FC236}">
                <a16:creationId xmlns:a16="http://schemas.microsoft.com/office/drawing/2014/main" id="{220CA10C-6D94-46FF-8ED6-BB443CE0668C}"/>
              </a:ext>
            </a:extLst>
          </p:cNvPr>
          <p:cNvSpPr>
            <a:spLocks noGrp="1"/>
          </p:cNvSpPr>
          <p:nvPr/>
        </p:nvSpPr>
        <p:spPr>
          <a:xfrm>
            <a:off x="495011" y="4243374"/>
            <a:ext cx="8145752" cy="1614783"/>
          </a:xfrm>
          <a:prstGeom prst="rect">
            <a:avLst/>
          </a:prstGeom>
        </p:spPr>
        <p:txBody>
          <a:bodyPr vert="horz" lIns="91440" tIns="45720" rIns="91440" bIns="45720" rtlCol="0" anchor="ctr">
            <a:noAutofit/>
          </a:bodyPr>
          <a:lstStyle>
            <a:lvl1pPr marL="0" indent="0" algn="l" defTabSz="685749" rtl="0" eaLnBrk="1" latinLnBrk="0" hangingPunct="1">
              <a:lnSpc>
                <a:spcPct val="90000"/>
              </a:lnSpc>
              <a:spcBef>
                <a:spcPts val="750"/>
              </a:spcBef>
              <a:buFont typeface="Arial" panose="020B0604020202020204" pitchFamily="34" charset="0"/>
              <a:buNone/>
              <a:defRPr sz="1125" b="0" kern="1200">
                <a:solidFill>
                  <a:schemeClr val="bg1"/>
                </a:solidFill>
                <a:latin typeface="+mn-lt"/>
                <a:ea typeface="+mn-ea"/>
                <a:cs typeface="+mn-cs"/>
              </a:defRPr>
            </a:lvl1pPr>
            <a:lvl2pPr marL="342875" indent="0" algn="l" defTabSz="685749"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2pPr>
            <a:lvl3pPr marL="685748" indent="0" algn="l" defTabSz="685749"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3pPr>
            <a:lvl4pPr marL="1028622" indent="0" algn="l" defTabSz="685749" rtl="0" eaLnBrk="1" latinLnBrk="0" hangingPunct="1">
              <a:lnSpc>
                <a:spcPct val="90000"/>
              </a:lnSpc>
              <a:spcBef>
                <a:spcPts val="375"/>
              </a:spcBef>
              <a:buFont typeface="Arial" panose="020B0604020202020204" pitchFamily="34" charset="0"/>
              <a:buNone/>
              <a:defRPr sz="1050" kern="1200">
                <a:solidFill>
                  <a:schemeClr val="tx1"/>
                </a:solidFill>
                <a:latin typeface="+mn-lt"/>
                <a:ea typeface="+mn-ea"/>
                <a:cs typeface="+mn-cs"/>
              </a:defRPr>
            </a:lvl4pPr>
            <a:lvl5pPr marL="1371498" indent="0" algn="l" defTabSz="685749" rtl="0" eaLnBrk="1" latinLnBrk="0" hangingPunct="1">
              <a:lnSpc>
                <a:spcPct val="90000"/>
              </a:lnSpc>
              <a:spcBef>
                <a:spcPts val="375"/>
              </a:spcBef>
              <a:buFont typeface="Arial" panose="020B0604020202020204" pitchFamily="34" charset="0"/>
              <a:buNone/>
              <a:defRPr sz="10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lnSpc>
                <a:spcPct val="100000"/>
              </a:lnSpc>
              <a:spcAft>
                <a:spcPts val="600"/>
              </a:spcAft>
            </a:pPr>
            <a:endParaRPr lang="en-US" altLang="zh-CN" sz="2400" b="1" dirty="0">
              <a:solidFill>
                <a:schemeClr val="tx1"/>
              </a:solidFill>
              <a:latin typeface="Times New Roman" panose="02020603050405020304" pitchFamily="18" charset="0"/>
              <a:ea typeface="微软雅黑" panose="020B0503020204020204" pitchFamily="34" charset="-122"/>
              <a:sym typeface="Times New Roman" panose="02020603050405020304" pitchFamily="18" charset="0"/>
            </a:endParaRPr>
          </a:p>
          <a:p>
            <a:pPr algn="ctr">
              <a:lnSpc>
                <a:spcPct val="100000"/>
              </a:lnSpc>
              <a:spcAft>
                <a:spcPts val="600"/>
              </a:spcAft>
            </a:pPr>
            <a:endParaRPr lang="en-US" altLang="zh-CN" sz="2400" b="1" dirty="0">
              <a:solidFill>
                <a:schemeClr val="tx1"/>
              </a:solidFill>
              <a:latin typeface="Times New Roman" panose="02020603050405020304" pitchFamily="18" charset="0"/>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30938283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75A16-0EBC-491F-92BD-6B808D713D84}"/>
              </a:ext>
            </a:extLst>
          </p:cNvPr>
          <p:cNvSpPr>
            <a:spLocks noGrp="1"/>
          </p:cNvSpPr>
          <p:nvPr>
            <p:ph type="title"/>
          </p:nvPr>
        </p:nvSpPr>
        <p:spPr/>
        <p:txBody>
          <a:bodyPr>
            <a:normAutofit fontScale="90000"/>
          </a:bodyPr>
          <a:lstStyle/>
          <a:p>
            <a:r>
              <a:rPr lang="zh-CN" altLang="en-US" dirty="0">
                <a:latin typeface="+mn-lt"/>
                <a:cs typeface="Calibri" panose="020F0502020204030204" pitchFamily="34" charset="0"/>
              </a:rPr>
              <a:t>非退化窃听信道上的反馈编码结构和正可达保密率</a:t>
            </a:r>
            <a:endParaRPr lang="en-US" dirty="0">
              <a:latin typeface="+mn-lt"/>
              <a:cs typeface="Calibri" panose="020F0502020204030204" pitchFamily="34" charset="0"/>
            </a:endParaRPr>
          </a:p>
        </p:txBody>
      </p:sp>
      <p:sp>
        <p:nvSpPr>
          <p:cNvPr id="266" name="PA-内容占位符 1">
            <a:extLst>
              <a:ext uri="{FF2B5EF4-FFF2-40B4-BE49-F238E27FC236}">
                <a16:creationId xmlns:a16="http://schemas.microsoft.com/office/drawing/2014/main" id="{53B88E53-3041-430D-9E3F-A088DC61F9A3}"/>
              </a:ext>
            </a:extLst>
          </p:cNvPr>
          <p:cNvSpPr txBox="1">
            <a:spLocks/>
          </p:cNvSpPr>
          <p:nvPr>
            <p:custDataLst>
              <p:tags r:id="rId2"/>
            </p:custDataLst>
          </p:nvPr>
        </p:nvSpPr>
        <p:spPr>
          <a:xfrm>
            <a:off x="885376" y="1222221"/>
            <a:ext cx="2487744" cy="576099"/>
          </a:xfrm>
          <a:prstGeom prst="rect">
            <a:avLst/>
          </a:prstGeom>
        </p:spPr>
        <p:txBody>
          <a:bodyPr/>
          <a:lstStyle>
            <a:lvl1pPr marL="171438" indent="-171438" algn="l" defTabSz="685749"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ts val="3800"/>
              </a:lnSpc>
              <a:spcBef>
                <a:spcPts val="1000"/>
              </a:spcBef>
              <a:buFont typeface="Wingdings" panose="05000000000000000000" pitchFamily="2" charset="2"/>
              <a:buChar char="Ø"/>
            </a:pPr>
            <a:r>
              <a:rPr lang="zh-CN" altLang="en-US" sz="2000" b="1" dirty="0">
                <a:latin typeface="Times New Roman" panose="02020603050405020304" pitchFamily="18" charset="0"/>
                <a:cs typeface="Times New Roman" panose="02020603050405020304" pitchFamily="18" charset="0"/>
              </a:rPr>
              <a:t>反馈编码结构</a:t>
            </a:r>
          </a:p>
        </p:txBody>
      </p:sp>
      <p:sp>
        <p:nvSpPr>
          <p:cNvPr id="7" name="文本框 6">
            <a:extLst>
              <a:ext uri="{FF2B5EF4-FFF2-40B4-BE49-F238E27FC236}">
                <a16:creationId xmlns:a16="http://schemas.microsoft.com/office/drawing/2014/main" id="{FA43C123-47B1-49A0-9883-B48AF60F6230}"/>
              </a:ext>
            </a:extLst>
          </p:cNvPr>
          <p:cNvSpPr txBox="1"/>
          <p:nvPr/>
        </p:nvSpPr>
        <p:spPr>
          <a:xfrm>
            <a:off x="732248" y="1838960"/>
            <a:ext cx="7679504" cy="787395"/>
          </a:xfrm>
          <a:prstGeom prst="rect">
            <a:avLst/>
          </a:prstGeom>
          <a:noFill/>
        </p:spPr>
        <p:txBody>
          <a:bodyPr wrap="square">
            <a:spAutoFit/>
          </a:bodyPr>
          <a:lstStyle/>
          <a:p>
            <a:pPr indent="457200" algn="just">
              <a:lnSpc>
                <a:spcPct val="150000"/>
              </a:lnSpc>
            </a:pPr>
            <a:r>
              <a:rPr lang="zh-CN" altLang="zh-CN" sz="1600" dirty="0"/>
              <a:t>在两个合法用户</a:t>
            </a:r>
            <a:r>
              <a:rPr lang="en-US" altLang="zh-CN" sz="1600" dirty="0"/>
              <a:t>Bob</a:t>
            </a:r>
            <a:r>
              <a:rPr lang="zh-CN" altLang="zh-CN" sz="1600" dirty="0"/>
              <a:t>和</a:t>
            </a:r>
            <a:r>
              <a:rPr lang="en-US" altLang="zh-CN" sz="1600" dirty="0"/>
              <a:t>Alice</a:t>
            </a:r>
            <a:r>
              <a:rPr lang="zh-CN" altLang="zh-CN" sz="1600" dirty="0"/>
              <a:t>之间建立了一个反馈信道。作为窃听者，</a:t>
            </a:r>
            <a:r>
              <a:rPr lang="en-US" altLang="zh-CN" sz="1600" dirty="0"/>
              <a:t>Eve</a:t>
            </a:r>
            <a:r>
              <a:rPr lang="zh-CN" altLang="zh-CN" sz="1600" dirty="0"/>
              <a:t>也可以访问从</a:t>
            </a:r>
            <a:r>
              <a:rPr lang="en-US" altLang="zh-CN" sz="1600" dirty="0"/>
              <a:t>Bob</a:t>
            </a:r>
            <a:r>
              <a:rPr lang="zh-CN" altLang="zh-CN" sz="1600" dirty="0"/>
              <a:t>到</a:t>
            </a:r>
            <a:r>
              <a:rPr lang="en-US" altLang="zh-CN" sz="1600" dirty="0"/>
              <a:t>Alice</a:t>
            </a:r>
            <a:r>
              <a:rPr lang="zh-CN" altLang="zh-CN" sz="1600" dirty="0"/>
              <a:t>的反馈信道。</a:t>
            </a:r>
            <a:endParaRPr lang="zh-CN" altLang="en-US" sz="1600" dirty="0"/>
          </a:p>
        </p:txBody>
      </p:sp>
      <p:sp>
        <p:nvSpPr>
          <p:cNvPr id="10" name="Rectangle 2">
            <a:extLst>
              <a:ext uri="{FF2B5EF4-FFF2-40B4-BE49-F238E27FC236}">
                <a16:creationId xmlns:a16="http://schemas.microsoft.com/office/drawing/2014/main" id="{3BF89FDA-8AF1-46BB-AC89-F0B624A5F6A7}"/>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mc:AlternateContent xmlns:mc="http://schemas.openxmlformats.org/markup-compatibility/2006">
        <mc:Choice xmlns:a14="http://schemas.microsoft.com/office/drawing/2010/main" Requires="a14">
          <p:sp>
            <p:nvSpPr>
              <p:cNvPr id="17" name="文本框 16">
                <a:extLst>
                  <a:ext uri="{FF2B5EF4-FFF2-40B4-BE49-F238E27FC236}">
                    <a16:creationId xmlns:a16="http://schemas.microsoft.com/office/drawing/2014/main" id="{5CB226C5-E72C-49BF-9448-7620C19A4F80}"/>
                  </a:ext>
                </a:extLst>
              </p:cNvPr>
              <p:cNvSpPr txBox="1"/>
              <p:nvPr/>
            </p:nvSpPr>
            <p:spPr>
              <a:xfrm>
                <a:off x="662149" y="4923892"/>
                <a:ext cx="7819699" cy="1219052"/>
              </a:xfrm>
              <a:prstGeom prst="rect">
                <a:avLst/>
              </a:prstGeom>
              <a:noFill/>
            </p:spPr>
            <p:txBody>
              <a:bodyPr wrap="square">
                <a:spAutoFit/>
              </a:bodyPr>
              <a:lstStyle/>
              <a:p>
                <a:pPr algn="just">
                  <a:lnSpc>
                    <a:spcPct val="150000"/>
                  </a:lnSpc>
                </a:pPr>
                <a:r>
                  <a:rPr lang="en-US" altLang="zh-CN" dirty="0">
                    <a:latin typeface="Times New Roman" panose="02020603050405020304" pitchFamily="18" charset="0"/>
                    <a:ea typeface="宋体" panose="02010600030101010101" pitchFamily="2" charset="-122"/>
                    <a:cs typeface="Times New Roman" panose="02020603050405020304" pitchFamily="18" charset="0"/>
                  </a:rPr>
                  <a:t>       </a:t>
                </a:r>
                <a:r>
                  <a:rPr lang="zh-CN" altLang="zh-CN" sz="1600" dirty="0"/>
                  <a:t>为了实现尽可能大的</a:t>
                </a:r>
                <a:r>
                  <a:rPr lang="zh-CN" altLang="zh-CN" sz="1600" dirty="0">
                    <a:solidFill>
                      <a:schemeClr val="accent2"/>
                    </a:solidFill>
                  </a:rPr>
                  <a:t>保密速率 </a:t>
                </a:r>
                <a14:m>
                  <m:oMath xmlns:m="http://schemas.openxmlformats.org/officeDocument/2006/math">
                    <m:sSub>
                      <m:sSubPr>
                        <m:ctrlPr>
                          <a:rPr lang="zh-CN" altLang="zh-CN" sz="1600">
                            <a:solidFill>
                              <a:schemeClr val="accent2"/>
                            </a:solidFill>
                          </a:rPr>
                        </m:ctrlPr>
                      </m:sSubPr>
                      <m:e>
                        <m:r>
                          <a:rPr lang="en-US" altLang="zh-CN" sz="1600">
                            <a:solidFill>
                              <a:schemeClr val="accent2"/>
                            </a:solidFill>
                          </a:rPr>
                          <m:t>𝑅</m:t>
                        </m:r>
                      </m:e>
                      <m:sub>
                        <m:r>
                          <a:rPr lang="en-US" altLang="zh-CN" sz="1600">
                            <a:solidFill>
                              <a:schemeClr val="accent2"/>
                            </a:solidFill>
                          </a:rPr>
                          <m:t>𝑠</m:t>
                        </m:r>
                        <m:r>
                          <a:rPr lang="en-US" altLang="zh-CN" sz="1600">
                            <a:solidFill>
                              <a:schemeClr val="accent2"/>
                            </a:solidFill>
                          </a:rPr>
                          <m:t>,0</m:t>
                        </m:r>
                      </m:sub>
                    </m:sSub>
                  </m:oMath>
                </a14:m>
                <a:r>
                  <a:rPr lang="en-US" altLang="zh-CN" sz="1600" dirty="0"/>
                  <a:t> ​</a:t>
                </a:r>
                <a:r>
                  <a:rPr lang="zh-CN" altLang="zh-CN" sz="1600" dirty="0"/>
                  <a:t>，我们应设计一种保密编码方案，使 </a:t>
                </a:r>
                <a14:m>
                  <m:oMath xmlns:m="http://schemas.openxmlformats.org/officeDocument/2006/math">
                    <m:sSub>
                      <m:sSubPr>
                        <m:ctrlPr>
                          <a:rPr lang="zh-CN" altLang="zh-CN" sz="1600"/>
                        </m:ctrlPr>
                      </m:sSubPr>
                      <m:e>
                        <m:r>
                          <a:rPr lang="en-US" altLang="zh-CN" sz="1600"/>
                          <m:t>𝑅</m:t>
                        </m:r>
                      </m:e>
                      <m:sub>
                        <m:r>
                          <a:rPr lang="en-US" altLang="zh-CN" sz="1600"/>
                          <m:t>𝑠</m:t>
                        </m:r>
                        <m:r>
                          <a:rPr lang="en-US" altLang="zh-CN" sz="1600"/>
                          <m:t>,</m:t>
                        </m:r>
                        <m:r>
                          <a:rPr lang="en-US" altLang="zh-CN" sz="1600"/>
                          <m:t>𝑢</m:t>
                        </m:r>
                      </m:sub>
                    </m:sSub>
                  </m:oMath>
                </a14:m>
                <a:r>
                  <a:rPr lang="en-US" altLang="zh-CN" sz="1600" dirty="0"/>
                  <a:t>​ </a:t>
                </a:r>
                <a:r>
                  <a:rPr lang="zh-CN" altLang="zh-CN" sz="1600" dirty="0"/>
                  <a:t>和 </a:t>
                </a:r>
                <a14:m>
                  <m:oMath xmlns:m="http://schemas.openxmlformats.org/officeDocument/2006/math">
                    <m:sSub>
                      <m:sSubPr>
                        <m:ctrlPr>
                          <a:rPr lang="zh-CN" altLang="zh-CN" sz="1600"/>
                        </m:ctrlPr>
                      </m:sSubPr>
                      <m:e>
                        <m:r>
                          <a:rPr lang="en-US" altLang="zh-CN" sz="1600"/>
                          <m:t>𝑅</m:t>
                        </m:r>
                        <m:r>
                          <a:rPr lang="en-US" altLang="zh-CN" sz="1600"/>
                          <m:t>​</m:t>
                        </m:r>
                      </m:e>
                      <m:sub>
                        <m:r>
                          <a:rPr lang="en-US" altLang="zh-CN" sz="1600"/>
                          <m:t>𝐴𝐵</m:t>
                        </m:r>
                      </m:sub>
                    </m:sSub>
                  </m:oMath>
                </a14:m>
                <a:r>
                  <a:rPr lang="en-US" altLang="zh-CN" sz="1600" dirty="0"/>
                  <a:t> </a:t>
                </a:r>
                <a:r>
                  <a:rPr lang="zh-CN" altLang="zh-CN" sz="1600" dirty="0"/>
                  <a:t>同时最大化，其中 </a:t>
                </a:r>
                <a14:m>
                  <m:oMath xmlns:m="http://schemas.openxmlformats.org/officeDocument/2006/math">
                    <m:sSub>
                      <m:sSubPr>
                        <m:ctrlPr>
                          <a:rPr lang="zh-CN" altLang="zh-CN" sz="1600"/>
                        </m:ctrlPr>
                      </m:sSubPr>
                      <m:e>
                        <m:r>
                          <a:rPr lang="en-US" altLang="zh-CN" sz="1600"/>
                          <m:t>𝑅</m:t>
                        </m:r>
                      </m:e>
                      <m:sub>
                        <m:r>
                          <a:rPr lang="en-US" altLang="zh-CN" sz="1600"/>
                          <m:t>𝑠</m:t>
                        </m:r>
                        <m:r>
                          <a:rPr lang="en-US" altLang="zh-CN" sz="1600"/>
                          <m:t>,</m:t>
                        </m:r>
                        <m:r>
                          <a:rPr lang="en-US" altLang="zh-CN" sz="1600"/>
                          <m:t>𝑢</m:t>
                        </m:r>
                      </m:sub>
                    </m:sSub>
                  </m:oMath>
                </a14:m>
                <a:r>
                  <a:rPr lang="en-US" altLang="zh-CN" sz="1600" dirty="0"/>
                  <a:t>​ </a:t>
                </a:r>
                <a:r>
                  <a:rPr lang="zh-CN" altLang="zh-CN" sz="1600" dirty="0"/>
                  <a:t>和 </a:t>
                </a:r>
                <a14:m>
                  <m:oMath xmlns:m="http://schemas.openxmlformats.org/officeDocument/2006/math">
                    <m:sSub>
                      <m:sSubPr>
                        <m:ctrlPr>
                          <a:rPr lang="zh-CN" altLang="zh-CN" sz="1600"/>
                        </m:ctrlPr>
                      </m:sSubPr>
                      <m:e>
                        <m:r>
                          <a:rPr lang="en-US" altLang="zh-CN" sz="1600"/>
                          <m:t>𝑅</m:t>
                        </m:r>
                        <m:r>
                          <a:rPr lang="en-US" altLang="zh-CN" sz="1600"/>
                          <m:t>​</m:t>
                        </m:r>
                      </m:e>
                      <m:sub>
                        <m:r>
                          <a:rPr lang="en-US" altLang="zh-CN" sz="1600"/>
                          <m:t>𝐴𝐵</m:t>
                        </m:r>
                      </m:sub>
                    </m:sSub>
                  </m:oMath>
                </a14:m>
                <a:r>
                  <a:rPr lang="en-US" altLang="zh-CN" sz="1600" dirty="0"/>
                  <a:t> </a:t>
                </a:r>
                <a:r>
                  <a:rPr lang="zh-CN" altLang="zh-CN" sz="1600" dirty="0"/>
                  <a:t>分别表示</a:t>
                </a:r>
                <a:r>
                  <a:rPr lang="zh-CN" altLang="zh-CN" sz="1600" dirty="0">
                    <a:solidFill>
                      <a:schemeClr val="accent3"/>
                    </a:solidFill>
                  </a:rPr>
                  <a:t>等效退化窃听信道的保密容量</a:t>
                </a:r>
                <a:r>
                  <a:rPr lang="zh-CN" altLang="zh-CN" sz="1600" dirty="0"/>
                  <a:t>和从</a:t>
                </a:r>
                <a:r>
                  <a:rPr lang="en-US" altLang="zh-CN" sz="1600" dirty="0"/>
                  <a:t>Alice</a:t>
                </a:r>
                <a:r>
                  <a:rPr lang="zh-CN" altLang="zh-CN" sz="1600" dirty="0"/>
                  <a:t>到</a:t>
                </a:r>
                <a:r>
                  <a:rPr lang="en-US" altLang="zh-CN" sz="1600" dirty="0"/>
                  <a:t>Bob</a:t>
                </a:r>
                <a:r>
                  <a:rPr lang="zh-CN" altLang="zh-CN" sz="1600" dirty="0"/>
                  <a:t>的</a:t>
                </a:r>
                <a:r>
                  <a:rPr lang="zh-CN" altLang="zh-CN" sz="1600" dirty="0">
                    <a:solidFill>
                      <a:schemeClr val="accent3"/>
                    </a:solidFill>
                  </a:rPr>
                  <a:t>前向信道容量</a:t>
                </a:r>
                <a:r>
                  <a:rPr lang="zh-CN" altLang="en-US" sz="1600" dirty="0"/>
                  <a:t>。</a:t>
                </a:r>
              </a:p>
            </p:txBody>
          </p:sp>
        </mc:Choice>
        <mc:Fallback>
          <p:sp>
            <p:nvSpPr>
              <p:cNvPr id="17" name="文本框 16">
                <a:extLst>
                  <a:ext uri="{FF2B5EF4-FFF2-40B4-BE49-F238E27FC236}">
                    <a16:creationId xmlns:a16="http://schemas.microsoft.com/office/drawing/2014/main" id="{5CB226C5-E72C-49BF-9448-7620C19A4F80}"/>
                  </a:ext>
                </a:extLst>
              </p:cNvPr>
              <p:cNvSpPr txBox="1">
                <a:spLocks noRot="1" noChangeAspect="1" noMove="1" noResize="1" noEditPoints="1" noAdjustHandles="1" noChangeArrowheads="1" noChangeShapeType="1" noTextEdit="1"/>
              </p:cNvSpPr>
              <p:nvPr/>
            </p:nvSpPr>
            <p:spPr>
              <a:xfrm>
                <a:off x="662149" y="4923892"/>
                <a:ext cx="7819699" cy="1219052"/>
              </a:xfrm>
              <a:prstGeom prst="rect">
                <a:avLst/>
              </a:prstGeom>
              <a:blipFill>
                <a:blip r:embed="rId5"/>
                <a:stretch>
                  <a:fillRect l="-468" r="-468" b="-5500"/>
                </a:stretch>
              </a:blipFill>
            </p:spPr>
            <p:txBody>
              <a:bodyPr/>
              <a:lstStyle/>
              <a:p>
                <a:r>
                  <a:rPr lang="zh-CN" altLang="en-US">
                    <a:noFill/>
                  </a:rPr>
                  <a:t> </a:t>
                </a:r>
              </a:p>
            </p:txBody>
          </p:sp>
        </mc:Fallback>
      </mc:AlternateContent>
      <p:pic>
        <p:nvPicPr>
          <p:cNvPr id="3" name="图片 2">
            <a:extLst>
              <a:ext uri="{FF2B5EF4-FFF2-40B4-BE49-F238E27FC236}">
                <a16:creationId xmlns:a16="http://schemas.microsoft.com/office/drawing/2014/main" id="{CE231848-9E4D-23F0-12E4-6F3FE9F68DCE}"/>
              </a:ext>
            </a:extLst>
          </p:cNvPr>
          <p:cNvPicPr>
            <a:picLocks noChangeAspect="1"/>
          </p:cNvPicPr>
          <p:nvPr/>
        </p:nvPicPr>
        <p:blipFill>
          <a:blip r:embed="rId6"/>
          <a:stretch>
            <a:fillRect/>
          </a:stretch>
        </p:blipFill>
        <p:spPr>
          <a:xfrm>
            <a:off x="2086236" y="2788334"/>
            <a:ext cx="5274310" cy="1662430"/>
          </a:xfrm>
          <a:prstGeom prst="rect">
            <a:avLst/>
          </a:prstGeom>
        </p:spPr>
      </p:pic>
    </p:spTree>
    <p:custDataLst>
      <p:tags r:id="rId1"/>
    </p:custDataLst>
    <p:extLst>
      <p:ext uri="{BB962C8B-B14F-4D97-AF65-F5344CB8AC3E}">
        <p14:creationId xmlns:p14="http://schemas.microsoft.com/office/powerpoint/2010/main" val="1049481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75A16-0EBC-491F-92BD-6B808D713D84}"/>
              </a:ext>
            </a:extLst>
          </p:cNvPr>
          <p:cNvSpPr>
            <a:spLocks noGrp="1"/>
          </p:cNvSpPr>
          <p:nvPr>
            <p:ph type="title"/>
          </p:nvPr>
        </p:nvSpPr>
        <p:spPr/>
        <p:txBody>
          <a:bodyPr/>
          <a:lstStyle/>
          <a:p>
            <a:r>
              <a:rPr lang="zh-CN" altLang="zh-CN" sz="2900" dirty="0">
                <a:latin typeface="+mn-lt"/>
                <a:cs typeface="Calibri" panose="020F0502020204030204" pitchFamily="34" charset="0"/>
              </a:rPr>
              <a:t>基于反馈的极化码保密编码方案</a:t>
            </a:r>
            <a:endParaRPr lang="en-US" sz="2900" dirty="0">
              <a:latin typeface="+mn-lt"/>
              <a:cs typeface="Calibri" panose="020F0502020204030204" pitchFamily="34" charset="0"/>
            </a:endParaRPr>
          </a:p>
        </p:txBody>
      </p:sp>
      <p:sp>
        <p:nvSpPr>
          <p:cNvPr id="266" name="PA-内容占位符 1">
            <a:extLst>
              <a:ext uri="{FF2B5EF4-FFF2-40B4-BE49-F238E27FC236}">
                <a16:creationId xmlns:a16="http://schemas.microsoft.com/office/drawing/2014/main" id="{53B88E53-3041-430D-9E3F-A088DC61F9A3}"/>
              </a:ext>
            </a:extLst>
          </p:cNvPr>
          <p:cNvSpPr txBox="1">
            <a:spLocks/>
          </p:cNvSpPr>
          <p:nvPr>
            <p:custDataLst>
              <p:tags r:id="rId2"/>
            </p:custDataLst>
          </p:nvPr>
        </p:nvSpPr>
        <p:spPr>
          <a:xfrm>
            <a:off x="885376" y="1222221"/>
            <a:ext cx="2487744" cy="576099"/>
          </a:xfrm>
          <a:prstGeom prst="rect">
            <a:avLst/>
          </a:prstGeom>
        </p:spPr>
        <p:txBody>
          <a:bodyPr/>
          <a:lstStyle>
            <a:lvl1pPr marL="171438" indent="-171438" algn="l" defTabSz="685749" rtl="0" eaLnBrk="1" latinLnBrk="0" hangingPunct="1">
              <a:lnSpc>
                <a:spcPct val="9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38" marR="0" lvl="0" indent="-171438" algn="just" defTabSz="685749" rtl="0" eaLnBrk="1" fontAlgn="auto" latinLnBrk="0" hangingPunct="1">
              <a:lnSpc>
                <a:spcPts val="3800"/>
              </a:lnSpc>
              <a:spcBef>
                <a:spcPts val="1000"/>
              </a:spcBef>
              <a:spcAft>
                <a:spcPts val="0"/>
              </a:spcAft>
              <a:buClrTx/>
              <a:buSzTx/>
              <a:buFont typeface="Wingdings" panose="05000000000000000000" pitchFamily="2" charset="2"/>
              <a:buChar char="Ø"/>
              <a:tabLst/>
              <a:defRPr/>
            </a:pPr>
            <a:r>
              <a:rPr lang="zh-CN" altLang="zh-CN" sz="2000" b="1" dirty="0">
                <a:latin typeface="Times New Roman" panose="02020603050405020304" pitchFamily="18" charset="0"/>
                <a:cs typeface="Times New Roman" panose="02020603050405020304" pitchFamily="18" charset="0"/>
              </a:rPr>
              <a:t>保密编码方案</a:t>
            </a:r>
            <a:endParaRPr lang="zh-CN" altLang="en-US" sz="2000" b="1" dirty="0">
              <a:latin typeface="Times New Roman" panose="02020603050405020304" pitchFamily="18" charset="0"/>
              <a:cs typeface="Times New Roman" panose="02020603050405020304" pitchFamily="18" charset="0"/>
            </a:endParaRPr>
          </a:p>
        </p:txBody>
      </p:sp>
      <p:sp>
        <p:nvSpPr>
          <p:cNvPr id="7" name="文本框 6">
            <a:extLst>
              <a:ext uri="{FF2B5EF4-FFF2-40B4-BE49-F238E27FC236}">
                <a16:creationId xmlns:a16="http://schemas.microsoft.com/office/drawing/2014/main" id="{FA43C123-47B1-49A0-9883-B48AF60F6230}"/>
              </a:ext>
            </a:extLst>
          </p:cNvPr>
          <p:cNvSpPr txBox="1"/>
          <p:nvPr/>
        </p:nvSpPr>
        <p:spPr>
          <a:xfrm>
            <a:off x="732248" y="1991840"/>
            <a:ext cx="7679504" cy="787395"/>
          </a:xfrm>
          <a:prstGeom prst="rect">
            <a:avLst/>
          </a:prstGeom>
          <a:noFill/>
        </p:spPr>
        <p:txBody>
          <a:bodyPr wrap="square">
            <a:spAutoFit/>
          </a:bodyPr>
          <a:lstStyle/>
          <a:p>
            <a:pPr indent="457200" algn="just">
              <a:lnSpc>
                <a:spcPct val="150000"/>
              </a:lnSpc>
              <a:defRPr/>
            </a:pPr>
            <a:r>
              <a:rPr lang="zh-CN" altLang="zh-CN" sz="1600" dirty="0"/>
              <a:t>提出的保密编码方案分为两部分，即在等效退化窃听信道上的保密编码和在前向非退化信道上的信道编码</a:t>
            </a:r>
            <a:r>
              <a:rPr lang="zh-CN" altLang="en-US" sz="1600" dirty="0"/>
              <a:t>。</a:t>
            </a:r>
            <a:endParaRPr lang="zh-CN" altLang="zh-CN" sz="1600" dirty="0"/>
          </a:p>
        </p:txBody>
      </p:sp>
      <p:sp>
        <p:nvSpPr>
          <p:cNvPr id="10" name="Rectangle 2">
            <a:extLst>
              <a:ext uri="{FF2B5EF4-FFF2-40B4-BE49-F238E27FC236}">
                <a16:creationId xmlns:a16="http://schemas.microsoft.com/office/drawing/2014/main" id="{3BF89FDA-8AF1-46BB-AC89-F0B624A5F6A7}"/>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Times New Roman"/>
              <a:ea typeface="Microsoft YaHei"/>
              <a:cs typeface="+mn-cs"/>
            </a:endParaRPr>
          </a:p>
        </p:txBody>
      </p:sp>
      <p:sp>
        <p:nvSpPr>
          <p:cNvPr id="3" name="Rectangle 2">
            <a:extLst>
              <a:ext uri="{FF2B5EF4-FFF2-40B4-BE49-F238E27FC236}">
                <a16:creationId xmlns:a16="http://schemas.microsoft.com/office/drawing/2014/main" id="{6BE1FB17-80D2-444D-87B3-150D5F5DBD28}"/>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sp>
        <p:nvSpPr>
          <p:cNvPr id="13" name="文本框 12">
            <a:extLst>
              <a:ext uri="{FF2B5EF4-FFF2-40B4-BE49-F238E27FC236}">
                <a16:creationId xmlns:a16="http://schemas.microsoft.com/office/drawing/2014/main" id="{B6667F45-A441-4FEE-AED0-EBD30DAC43A9}"/>
              </a:ext>
            </a:extLst>
          </p:cNvPr>
          <p:cNvSpPr txBox="1"/>
          <p:nvPr/>
        </p:nvSpPr>
        <p:spPr>
          <a:xfrm>
            <a:off x="740185" y="4512489"/>
            <a:ext cx="7679504" cy="1494640"/>
          </a:xfrm>
          <a:prstGeom prst="rect">
            <a:avLst/>
          </a:prstGeom>
          <a:noFill/>
        </p:spPr>
        <p:txBody>
          <a:bodyPr wrap="square">
            <a:spAutoFit/>
          </a:bodyPr>
          <a:lstStyle/>
          <a:p>
            <a:pPr indent="457200" algn="just">
              <a:lnSpc>
                <a:spcPct val="200000"/>
              </a:lnSpc>
            </a:pPr>
            <a:r>
              <a:rPr lang="zh-CN" altLang="zh-CN" sz="1600" dirty="0"/>
              <a:t>整体基于反馈的保密编码方案使用</a:t>
            </a:r>
            <a:r>
              <a:rPr lang="zh-CN" altLang="zh-CN" sz="1600" dirty="0">
                <a:solidFill>
                  <a:schemeClr val="accent2"/>
                </a:solidFill>
              </a:rPr>
              <a:t>两级极化编码</a:t>
            </a:r>
            <a:r>
              <a:rPr lang="zh-CN" altLang="zh-CN" sz="1600" dirty="0"/>
              <a:t>。第一级实现</a:t>
            </a:r>
            <a:r>
              <a:rPr lang="zh-CN" altLang="zh-CN" sz="1600" dirty="0">
                <a:solidFill>
                  <a:schemeClr val="accent3"/>
                </a:solidFill>
              </a:rPr>
              <a:t>保密编码</a:t>
            </a:r>
            <a:r>
              <a:rPr lang="zh-CN" altLang="zh-CN" sz="1600" dirty="0"/>
              <a:t>，第二级实现</a:t>
            </a:r>
            <a:r>
              <a:rPr lang="zh-CN" altLang="zh-CN" sz="1600" dirty="0">
                <a:solidFill>
                  <a:schemeClr val="accent3"/>
                </a:solidFill>
              </a:rPr>
              <a:t>信道编码</a:t>
            </a:r>
            <a:r>
              <a:rPr lang="zh-CN" altLang="zh-CN" sz="1600" dirty="0"/>
              <a:t>。</a:t>
            </a:r>
            <a:r>
              <a:rPr lang="zh-CN" altLang="en-US" sz="1600" dirty="0"/>
              <a:t>详细说明了编码和解码过程，如何利用反馈信道增强安全性。</a:t>
            </a:r>
          </a:p>
          <a:p>
            <a:pPr indent="457200" algn="just">
              <a:lnSpc>
                <a:spcPct val="200000"/>
              </a:lnSpc>
            </a:pPr>
            <a:endParaRPr lang="zh-CN" altLang="en-US" sz="1600" dirty="0"/>
          </a:p>
        </p:txBody>
      </p:sp>
      <p:pic>
        <p:nvPicPr>
          <p:cNvPr id="5" name="图片 4">
            <a:extLst>
              <a:ext uri="{FF2B5EF4-FFF2-40B4-BE49-F238E27FC236}">
                <a16:creationId xmlns:a16="http://schemas.microsoft.com/office/drawing/2014/main" id="{AA63E146-DBF8-D79D-67AC-9361BC511E8E}"/>
              </a:ext>
            </a:extLst>
          </p:cNvPr>
          <p:cNvPicPr>
            <a:picLocks noChangeAspect="1"/>
          </p:cNvPicPr>
          <p:nvPr/>
        </p:nvPicPr>
        <p:blipFill>
          <a:blip r:embed="rId5"/>
          <a:stretch>
            <a:fillRect/>
          </a:stretch>
        </p:blipFill>
        <p:spPr>
          <a:xfrm>
            <a:off x="1934845" y="2940079"/>
            <a:ext cx="5274310" cy="1159510"/>
          </a:xfrm>
          <a:prstGeom prst="rect">
            <a:avLst/>
          </a:prstGeom>
        </p:spPr>
      </p:pic>
    </p:spTree>
    <p:custDataLst>
      <p:tags r:id="rId1"/>
    </p:custDataLst>
    <p:extLst>
      <p:ext uri="{BB962C8B-B14F-4D97-AF65-F5344CB8AC3E}">
        <p14:creationId xmlns:p14="http://schemas.microsoft.com/office/powerpoint/2010/main" val="28879609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A-Object 3" hidden="1">
            <a:extLst>
              <a:ext uri="{FF2B5EF4-FFF2-40B4-BE49-F238E27FC236}">
                <a16:creationId xmlns:a16="http://schemas.microsoft.com/office/drawing/2014/main" id="{4FFA4C7D-31F8-4BD5-B7C5-D2BC2FBF1A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06" imgH="306" progId="TCLayout.ActiveDocument.1">
                  <p:embed/>
                </p:oleObj>
              </mc:Choice>
              <mc:Fallback>
                <p:oleObj name="think-cell 幻灯片" r:id="rId5" imgW="306" imgH="306" progId="TCLayout.ActiveDocument.1">
                  <p:embed/>
                  <p:pic>
                    <p:nvPicPr>
                      <p:cNvPr id="4" name="PA-Object 3" hidden="1">
                        <a:extLst>
                          <a:ext uri="{FF2B5EF4-FFF2-40B4-BE49-F238E27FC236}">
                            <a16:creationId xmlns:a16="http://schemas.microsoft.com/office/drawing/2014/main" id="{4FFA4C7D-31F8-4BD5-B7C5-D2BC2FBF1A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A-标题 3">
            <a:extLst>
              <a:ext uri="{FF2B5EF4-FFF2-40B4-BE49-F238E27FC236}">
                <a16:creationId xmlns:a16="http://schemas.microsoft.com/office/drawing/2014/main" id="{7A009F49-27F2-45B0-B8C6-1D79CC9FF6AA}"/>
              </a:ext>
            </a:extLst>
          </p:cNvPr>
          <p:cNvSpPr>
            <a:spLocks noGrp="1"/>
          </p:cNvSpPr>
          <p:nvPr>
            <p:ph type="ctrTitle"/>
            <p:custDataLst>
              <p:tags r:id="rId2"/>
            </p:custDataLst>
          </p:nvPr>
        </p:nvSpPr>
        <p:spPr>
          <a:xfrm>
            <a:off x="517218" y="1803320"/>
            <a:ext cx="8131772" cy="1757387"/>
          </a:xfrm>
        </p:spPr>
        <p:txBody>
          <a:bodyPr>
            <a:noAutofit/>
          </a:bodyPr>
          <a:lstStyle/>
          <a:p>
            <a:pPr algn="ctr">
              <a:lnSpc>
                <a:spcPct val="130000"/>
              </a:lnSpc>
            </a:pPr>
            <a:r>
              <a:rPr lang="zh-CN" altLang="en-US" sz="6000" dirty="0">
                <a:latin typeface="Times New Roman" panose="02020603050405020304" pitchFamily="18" charset="0"/>
                <a:ea typeface="微软雅黑" panose="020B0503020204020204" pitchFamily="34" charset="-122"/>
                <a:sym typeface="Times New Roman" panose="02020603050405020304" pitchFamily="18" charset="0"/>
              </a:rPr>
              <a:t>谢谢！</a:t>
            </a:r>
          </a:p>
        </p:txBody>
      </p:sp>
    </p:spTree>
    <p:extLst>
      <p:ext uri="{BB962C8B-B14F-4D97-AF65-F5344CB8AC3E}">
        <p14:creationId xmlns:p14="http://schemas.microsoft.com/office/powerpoint/2010/main" val="39182933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628e6dde-ab0a-46b3-a249-52d360d6cbc0"/>
  <p:tag name="THINKCELLPRESENTATIONDONOTDELETE" val="&lt;?xml version=&quot;1.0&quot; encoding=&quot;UTF-16&quot; standalone=&quot;yes&quot;?&gt;&lt;root reqver=&quot;25060&quot;&gt;&lt;version val=&quot;27898&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ISLIDE.VECTOR" val="#275511;#267796;"/>
</p:tagLst>
</file>

<file path=ppt/tags/tag3.xml><?xml version="1.0" encoding="utf-8"?>
<p:tagLst xmlns:a="http://schemas.openxmlformats.org/drawingml/2006/main" xmlns:r="http://schemas.openxmlformats.org/officeDocument/2006/relationships" xmlns:p="http://schemas.openxmlformats.org/presentationml/2006/main">
  <p:tag name="PA" val="v5.2.7"/>
</p:tagLst>
</file>

<file path=ppt/tags/tag4.xml><?xml version="1.0" encoding="utf-8"?>
<p:tagLst xmlns:a="http://schemas.openxmlformats.org/drawingml/2006/main" xmlns:r="http://schemas.openxmlformats.org/officeDocument/2006/relationships" xmlns:p="http://schemas.openxmlformats.org/presentationml/2006/main">
  <p:tag name="ISLIDE.VECTOR" val="#275511;#267796;"/>
</p:tagLst>
</file>

<file path=ppt/tags/tag5.xml><?xml version="1.0" encoding="utf-8"?>
<p:tagLst xmlns:a="http://schemas.openxmlformats.org/drawingml/2006/main" xmlns:r="http://schemas.openxmlformats.org/officeDocument/2006/relationships" xmlns:p="http://schemas.openxmlformats.org/presentationml/2006/main">
  <p:tag name="PA" val="v5.2.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PA" val="v5.2.7"/>
</p:tagLst>
</file>

<file path=ppt/tags/tag7.xml><?xml version="1.0" encoding="utf-8"?>
<p:tagLst xmlns:a="http://schemas.openxmlformats.org/drawingml/2006/main" xmlns:r="http://schemas.openxmlformats.org/officeDocument/2006/relationships" xmlns:p="http://schemas.openxmlformats.org/presentationml/2006/main">
  <p:tag name="PA" val="v5.2.7"/>
</p:tagLst>
</file>

<file path=ppt/theme/theme1.xml><?xml version="1.0" encoding="utf-8"?>
<a:theme xmlns:a="http://schemas.openxmlformats.org/drawingml/2006/main" name="主题5">
  <a:themeElements>
    <a:clrScheme name="自定义 23">
      <a:dk1>
        <a:srgbClr val="000000"/>
      </a:dk1>
      <a:lt1>
        <a:srgbClr val="FFFFFF"/>
      </a:lt1>
      <a:dk2>
        <a:srgbClr val="768395"/>
      </a:dk2>
      <a:lt2>
        <a:srgbClr val="F0F0F0"/>
      </a:lt2>
      <a:accent1>
        <a:srgbClr val="003472"/>
      </a:accent1>
      <a:accent2>
        <a:srgbClr val="E90011"/>
      </a:accent2>
      <a:accent3>
        <a:srgbClr val="0D5AAC"/>
      </a:accent3>
      <a:accent4>
        <a:srgbClr val="008CC4"/>
      </a:accent4>
      <a:accent5>
        <a:srgbClr val="7D7D7D"/>
      </a:accent5>
      <a:accent6>
        <a:srgbClr val="A9A9A9"/>
      </a:accent6>
      <a:hlink>
        <a:srgbClr val="4472C4"/>
      </a:hlink>
      <a:folHlink>
        <a:srgbClr val="BFBFBF"/>
      </a:folHlink>
    </a:clrScheme>
    <a:fontScheme name="SINC-Lab">
      <a:majorFont>
        <a:latin typeface="Times New Roman"/>
        <a:ea typeface="Microsoft YaHei"/>
        <a:cs typeface=""/>
      </a:majorFont>
      <a:minorFont>
        <a:latin typeface="Times New Roman"/>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组会模板</Template>
  <TotalTime>4572</TotalTime>
  <Words>190</Words>
  <Application>Microsoft Office PowerPoint</Application>
  <PresentationFormat>全屏显示(4:3)</PresentationFormat>
  <Paragraphs>13</Paragraphs>
  <Slides>4</Slides>
  <Notes>4</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4</vt:i4>
      </vt:variant>
    </vt:vector>
  </HeadingPairs>
  <TitlesOfParts>
    <vt:vector size="15" baseType="lpstr">
      <vt:lpstr>等线</vt:lpstr>
      <vt:lpstr>等线 Light</vt:lpstr>
      <vt:lpstr>微软雅黑</vt:lpstr>
      <vt:lpstr>Arial</vt:lpstr>
      <vt:lpstr>Bahnschrift SemiBold Condensed</vt:lpstr>
      <vt:lpstr>Calibri</vt:lpstr>
      <vt:lpstr>Times New Roman</vt:lpstr>
      <vt:lpstr>Wingdings</vt:lpstr>
      <vt:lpstr>主题5</vt:lpstr>
      <vt:lpstr>自定义设计方案</vt:lpstr>
      <vt:lpstr>think-cell 幻灯片</vt:lpstr>
      <vt:lpstr>《通信编码安全理论》 基于反馈的极化码窃听信道保密编码方案</vt:lpstr>
      <vt:lpstr>非退化窃听信道上的反馈编码结构和正可达保密率</vt:lpstr>
      <vt:lpstr>基于反馈的极化码保密编码方案</vt:lpstr>
      <vt:lpstr>谢谢！</vt:lpstr>
    </vt:vector>
  </TitlesOfParts>
  <Company>华中科技大学6G研究中心</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NC-Lab模板</dc:title>
  <dc:creator>Huang Yuxi</dc:creator>
  <cp:lastModifiedBy>Y H</cp:lastModifiedBy>
  <cp:revision>116</cp:revision>
  <cp:lastPrinted>2017-11-19T16:00:00Z</cp:lastPrinted>
  <dcterms:created xsi:type="dcterms:W3CDTF">2022-04-14T01:22:14Z</dcterms:created>
  <dcterms:modified xsi:type="dcterms:W3CDTF">2024-05-27T16:3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